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73" r:id="rId4"/>
    <p:sldMasterId id="2147483813" r:id="rId5"/>
  </p:sldMasterIdLst>
  <p:notesMasterIdLst>
    <p:notesMasterId r:id="rId11"/>
  </p:notesMasterIdLst>
  <p:handoutMasterIdLst>
    <p:handoutMasterId r:id="rId12"/>
  </p:handoutMasterIdLst>
  <p:sldIdLst>
    <p:sldId id="5704" r:id="rId6"/>
    <p:sldId id="5707" r:id="rId7"/>
    <p:sldId id="5814" r:id="rId8"/>
    <p:sldId id="5809" r:id="rId9"/>
    <p:sldId id="5811" r:id="rId10"/>
  </p:sldIdLst>
  <p:sldSz cx="12192000" cy="6858000"/>
  <p:notesSz cx="9928225" cy="6797675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8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й Жандров" initials="АЖ" lastIdx="2" clrIdx="0"/>
  <p:cmAuthor id="2" name="office" initials="Rrr" lastIdx="2" clrIdx="1"/>
  <p:cmAuthor id="3" name="Платонова Надежда Владимировна" initials="ПНВ" lastIdx="9" clrIdx="2">
    <p:extLst>
      <p:ext uri="{19B8F6BF-5375-455C-9EA6-DF929625EA0E}">
        <p15:presenceInfo xmlns:p15="http://schemas.microsoft.com/office/powerpoint/2012/main" userId="S-1-5-21-725345543-1767777339-839522115-611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050"/>
    <a:srgbClr val="005DA3"/>
    <a:srgbClr val="FF3333"/>
    <a:srgbClr val="FE7F00"/>
    <a:srgbClr val="DCCFEB"/>
    <a:srgbClr val="FFE6CD"/>
    <a:srgbClr val="FF7373"/>
    <a:srgbClr val="CBE1F5"/>
    <a:srgbClr val="E7F1FA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284" autoAdjust="0"/>
    <p:restoredTop sz="94325" autoAdjust="0"/>
  </p:normalViewPr>
  <p:slideViewPr>
    <p:cSldViewPr showGuides="1">
      <p:cViewPr varScale="1">
        <p:scale>
          <a:sx n="111" d="100"/>
          <a:sy n="111" d="100"/>
        </p:scale>
        <p:origin x="1128" y="114"/>
      </p:cViewPr>
      <p:guideLst>
        <p:guide orient="horz" pos="2183"/>
        <p:guide pos="3885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00" d="100"/>
        <a:sy n="100" d="100"/>
      </p:scale>
      <p:origin x="0" y="-1181"/>
    </p:cViewPr>
  </p:sorterViewPr>
  <p:notesViewPr>
    <p:cSldViewPr>
      <p:cViewPr varScale="1">
        <p:scale>
          <a:sx n="170" d="100"/>
          <a:sy n="170" d="100"/>
        </p:scale>
        <p:origin x="5376" y="19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F3480E7-DCB1-9445-AFD2-7B13C251492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7" y="5"/>
            <a:ext cx="4302231" cy="341064"/>
          </a:xfrm>
          <a:prstGeom prst="rect">
            <a:avLst/>
          </a:prstGeom>
        </p:spPr>
        <p:txBody>
          <a:bodyPr vert="horz" lIns="91730" tIns="45865" rIns="91730" bIns="4586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26F0D84-728E-5B4D-8D19-DAB73781995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3704" y="5"/>
            <a:ext cx="4302231" cy="341064"/>
          </a:xfrm>
          <a:prstGeom prst="rect">
            <a:avLst/>
          </a:prstGeom>
        </p:spPr>
        <p:txBody>
          <a:bodyPr vert="horz" lIns="91730" tIns="45865" rIns="91730" bIns="45865" rtlCol="0"/>
          <a:lstStyle>
            <a:lvl1pPr algn="r">
              <a:defRPr sz="1200"/>
            </a:lvl1pPr>
          </a:lstStyle>
          <a:p>
            <a:fld id="{38CE206C-933E-C54B-94CB-CF525CECCA65}" type="datetimeFigureOut">
              <a:t>05.02.2025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420414-30B9-7743-ABA3-E5D05A9E4D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7" y="6456616"/>
            <a:ext cx="4302231" cy="341063"/>
          </a:xfrm>
          <a:prstGeom prst="rect">
            <a:avLst/>
          </a:prstGeom>
        </p:spPr>
        <p:txBody>
          <a:bodyPr vert="horz" lIns="91730" tIns="45865" rIns="91730" bIns="4586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E7B456-8CEB-0F4F-AE92-4F697F9922D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3704" y="6456616"/>
            <a:ext cx="4302231" cy="341063"/>
          </a:xfrm>
          <a:prstGeom prst="rect">
            <a:avLst/>
          </a:prstGeom>
        </p:spPr>
        <p:txBody>
          <a:bodyPr vert="horz" lIns="91730" tIns="45865" rIns="91730" bIns="45865" rtlCol="0" anchor="b"/>
          <a:lstStyle>
            <a:lvl1pPr algn="r">
              <a:defRPr sz="1200"/>
            </a:lvl1pPr>
          </a:lstStyle>
          <a:p>
            <a:fld id="{7618C08B-0376-9840-84A6-B0D56A150416}" type="slidenum"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95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7" y="5"/>
            <a:ext cx="4302231" cy="341064"/>
          </a:xfrm>
          <a:prstGeom prst="rect">
            <a:avLst/>
          </a:prstGeom>
        </p:spPr>
        <p:txBody>
          <a:bodyPr vert="horz" lIns="91730" tIns="45865" rIns="91730" bIns="4586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3704" y="5"/>
            <a:ext cx="4302231" cy="341064"/>
          </a:xfrm>
          <a:prstGeom prst="rect">
            <a:avLst/>
          </a:prstGeom>
        </p:spPr>
        <p:txBody>
          <a:bodyPr vert="horz" lIns="91730" tIns="45865" rIns="91730" bIns="45865" rtlCol="0"/>
          <a:lstStyle>
            <a:lvl1pPr algn="r">
              <a:defRPr sz="1200"/>
            </a:lvl1pPr>
          </a:lstStyle>
          <a:p>
            <a:fld id="{F4849F9D-86CE-4BF5-BEFC-0063BC819220}" type="datetimeFigureOut">
              <a:rPr lang="ru-RU" smtClean="0"/>
              <a:t>05.0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849313"/>
            <a:ext cx="4079875" cy="2295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30" tIns="45865" rIns="91730" bIns="4586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823" y="3271384"/>
            <a:ext cx="7942580" cy="2676584"/>
          </a:xfrm>
          <a:prstGeom prst="rect">
            <a:avLst/>
          </a:prstGeom>
        </p:spPr>
        <p:txBody>
          <a:bodyPr vert="horz" lIns="91730" tIns="45865" rIns="91730" bIns="4586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7" y="6456616"/>
            <a:ext cx="4302231" cy="341063"/>
          </a:xfrm>
          <a:prstGeom prst="rect">
            <a:avLst/>
          </a:prstGeom>
        </p:spPr>
        <p:txBody>
          <a:bodyPr vert="horz" lIns="91730" tIns="45865" rIns="91730" bIns="4586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3704" y="6456616"/>
            <a:ext cx="4302231" cy="341063"/>
          </a:xfrm>
          <a:prstGeom prst="rect">
            <a:avLst/>
          </a:prstGeom>
        </p:spPr>
        <p:txBody>
          <a:bodyPr vert="horz" lIns="91730" tIns="45865" rIns="91730" bIns="45865" rtlCol="0" anchor="b"/>
          <a:lstStyle>
            <a:lvl1pPr algn="r">
              <a:defRPr sz="1200"/>
            </a:lvl1pPr>
          </a:lstStyle>
          <a:p>
            <a:fld id="{B6E5FA15-4E1C-487D-9F1E-D5A3ED2250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986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5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svg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5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svg"/><Relationship Id="rId4" Type="http://schemas.openxmlformats.org/officeDocument/2006/relationships/image" Target="../media/image5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svg"/><Relationship Id="rId4" Type="http://schemas.openxmlformats.org/officeDocument/2006/relationships/image" Target="../media/image5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svg"/><Relationship Id="rId4" Type="http://schemas.openxmlformats.org/officeDocument/2006/relationships/image" Target="../media/image7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svg"/><Relationship Id="rId4" Type="http://schemas.openxmlformats.org/officeDocument/2006/relationships/image" Target="../media/image5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svg"/><Relationship Id="rId4" Type="http://schemas.openxmlformats.org/officeDocument/2006/relationships/image" Target="../media/image5.pn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шаблона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8A42EDAC-972D-4561-8D17-435F67F7B38C}"/>
              </a:ext>
            </a:extLst>
          </p:cNvPr>
          <p:cNvSpPr/>
          <p:nvPr userDrawn="1"/>
        </p:nvSpPr>
        <p:spPr>
          <a:xfrm>
            <a:off x="11283769" y="29842"/>
            <a:ext cx="908230" cy="2576632"/>
          </a:xfrm>
          <a:custGeom>
            <a:avLst/>
            <a:gdLst>
              <a:gd name="connsiteX0" fmla="*/ 0 w 899794"/>
              <a:gd name="connsiteY0" fmla="*/ 0 h 2552700"/>
              <a:gd name="connsiteX1" fmla="*/ 0 w 899794"/>
              <a:gd name="connsiteY1" fmla="*/ 2552700 h 2552700"/>
              <a:gd name="connsiteX2" fmla="*/ 899795 w 899794"/>
              <a:gd name="connsiteY2" fmla="*/ 1652905 h 2552700"/>
              <a:gd name="connsiteX3" fmla="*/ 899795 w 899794"/>
              <a:gd name="connsiteY3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794" h="2552700">
                <a:moveTo>
                  <a:pt x="0" y="0"/>
                </a:moveTo>
                <a:lnTo>
                  <a:pt x="0" y="2552700"/>
                </a:lnTo>
                <a:lnTo>
                  <a:pt x="899795" y="1652905"/>
                </a:lnTo>
                <a:lnTo>
                  <a:pt x="8997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7DA07329-2815-4181-9C0F-470DAA2099A3}"/>
              </a:ext>
            </a:extLst>
          </p:cNvPr>
          <p:cNvSpPr/>
          <p:nvPr userDrawn="1"/>
        </p:nvSpPr>
        <p:spPr>
          <a:xfrm>
            <a:off x="6442009" y="0"/>
            <a:ext cx="1007295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id="{15551796-9430-44BB-9A13-B715C717E44B}"/>
              </a:ext>
            </a:extLst>
          </p:cNvPr>
          <p:cNvSpPr/>
          <p:nvPr userDrawn="1"/>
        </p:nvSpPr>
        <p:spPr>
          <a:xfrm>
            <a:off x="7032242" y="5834312"/>
            <a:ext cx="4251528" cy="1023688"/>
          </a:xfrm>
          <a:custGeom>
            <a:avLst/>
            <a:gdLst>
              <a:gd name="connsiteX0" fmla="*/ 1023688 w 4251528"/>
              <a:gd name="connsiteY0" fmla="*/ 0 h 1023688"/>
              <a:gd name="connsiteX1" fmla="*/ 4251528 w 4251528"/>
              <a:gd name="connsiteY1" fmla="*/ 0 h 1023688"/>
              <a:gd name="connsiteX2" fmla="*/ 4251528 w 4251528"/>
              <a:gd name="connsiteY2" fmla="*/ 1023688 h 1023688"/>
              <a:gd name="connsiteX3" fmla="*/ 0 w 4251528"/>
              <a:gd name="connsiteY3" fmla="*/ 1023688 h 102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1528" h="1023688">
                <a:moveTo>
                  <a:pt x="1023688" y="0"/>
                </a:moveTo>
                <a:lnTo>
                  <a:pt x="4251528" y="0"/>
                </a:lnTo>
                <a:lnTo>
                  <a:pt x="4251528" y="1023688"/>
                </a:lnTo>
                <a:lnTo>
                  <a:pt x="0" y="1023688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4" y="6561348"/>
            <a:ext cx="648072" cy="230864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mtClean="0">
                <a:solidFill>
                  <a:schemeClr val="bg1"/>
                </a:solidFill>
              </a:rPr>
              <a:pPr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8" name="Заголовок 12">
            <a:extLst>
              <a:ext uri="{FF2B5EF4-FFF2-40B4-BE49-F238E27FC236}">
                <a16:creationId xmlns:a16="http://schemas.microsoft.com/office/drawing/2014/main" id="{8D3E5806-E57D-47C6-9D92-8F1B66C22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629" y="1106128"/>
            <a:ext cx="6124585" cy="1116578"/>
          </a:xfrm>
        </p:spPr>
        <p:txBody>
          <a:bodyPr anchor="b">
            <a:noAutofit/>
          </a:bodyPr>
          <a:lstStyle>
            <a:lvl1pPr>
              <a:def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ru-RU" sz="4000" b="1" dirty="0">
                <a:solidFill>
                  <a:srgbClr val="FFFFFF"/>
                </a:solidFill>
              </a:rPr>
              <a:t>Титульный слай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Текст 19">
            <a:extLst>
              <a:ext uri="{FF2B5EF4-FFF2-40B4-BE49-F238E27FC236}">
                <a16:creationId xmlns:a16="http://schemas.microsoft.com/office/drawing/2014/main" id="{A0EF04F5-7844-4252-B6E1-7773238540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629" y="2394168"/>
            <a:ext cx="6124585" cy="233910"/>
          </a:xfrm>
        </p:spPr>
        <p:txBody>
          <a:bodyPr>
            <a:spAutoFit/>
          </a:bodyPr>
          <a:lstStyle>
            <a:lvl1pPr marL="180000" indent="-180000" algn="l" defTabSz="883649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ts val="200"/>
              </a:spcAft>
              <a:defRPr lang="ru-RU" sz="16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30" name="Прямая соединительная линия 9">
            <a:extLst>
              <a:ext uri="{FF2B5EF4-FFF2-40B4-BE49-F238E27FC236}">
                <a16:creationId xmlns:a16="http://schemas.microsoft.com/office/drawing/2014/main" id="{8F4FE799-1569-445B-A49F-10F0A429BC4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3863158-CE6B-4333-BB35-9848BA3996BF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bg1"/>
                </a:solidFill>
              </a:rPr>
            </a:br>
            <a:r>
              <a:rPr lang="ru-RU" sz="500" dirty="0">
                <a:solidFill>
                  <a:schemeClr val="bg1"/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689720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 с плаш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7" y="1092880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465" y="1092880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7" y="3736398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8465" y="3736398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2979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фото с плаш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3752273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41468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0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6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24625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0" y="1089026"/>
            <a:ext cx="5576400" cy="291600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6" y="1089026"/>
            <a:ext cx="5576400" cy="291600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71131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A6239A19-9FAE-47A0-A477-EB1B77BF90A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01945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99E91E2D-3933-4E87-80A8-CF518950025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2335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5AFA9D99-37C6-4CD3-B18D-2C7C47D2DB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75538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62C57C21-789C-4730-8529-0A92398E04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38741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82830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2290CE11-5240-42EA-BEE4-E19D7FE72B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310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E28F290B-8157-4FA7-81FC-055AFF55DE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84633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1910196-5F21-43B3-B9EA-9A786B910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9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68691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маленьк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7247B4CC-3E48-4A84-ABFD-5C8B1B8326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85461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FB2AA0CA-2D15-4343-89C4-52DC555FE64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7989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E56FC753-0B69-49EA-A82C-5DE0D7689F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6731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3D1015E6-0C62-4573-AAC4-989A7E0CF3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743025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4">
            <a:extLst>
              <a:ext uri="{FF2B5EF4-FFF2-40B4-BE49-F238E27FC236}">
                <a16:creationId xmlns:a16="http://schemas.microsoft.com/office/drawing/2014/main" id="{A9E75C1E-59FA-1141-88ED-C9DA5B5C20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44794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grpSp>
        <p:nvGrpSpPr>
          <p:cNvPr id="8" name="Рисунок 3">
            <a:extLst>
              <a:ext uri="{FF2B5EF4-FFF2-40B4-BE49-F238E27FC236}">
                <a16:creationId xmlns:a16="http://schemas.microsoft.com/office/drawing/2014/main" id="{D663A8F4-12F9-49EE-A891-BBC78F6B8D5D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9EB08345-EDEA-4E5F-8C73-ECA9ED5D8D65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C4E78553-2D46-4B56-A19D-70262B236649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94BFC336-5EDD-43A3-A172-69C55F21C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4" name="Текст 39">
            <a:extLst>
              <a:ext uri="{FF2B5EF4-FFF2-40B4-BE49-F238E27FC236}">
                <a16:creationId xmlns:a16="http://schemas.microsoft.com/office/drawing/2014/main" id="{7036E895-99CC-4BCE-A997-EBA227FE1B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5" name="Текст 26">
            <a:extLst>
              <a:ext uri="{FF2B5EF4-FFF2-40B4-BE49-F238E27FC236}">
                <a16:creationId xmlns:a16="http://schemas.microsoft.com/office/drawing/2014/main" id="{9178C993-2B33-4D2D-A01C-29320624F1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6" name="Текст 26">
            <a:extLst>
              <a:ext uri="{FF2B5EF4-FFF2-40B4-BE49-F238E27FC236}">
                <a16:creationId xmlns:a16="http://schemas.microsoft.com/office/drawing/2014/main" id="{618AF164-F755-4509-892D-5E791A82CF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892298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pic>
        <p:nvPicPr>
          <p:cNvPr id="4" name="Graphic 17">
            <a:extLst>
              <a:ext uri="{FF2B5EF4-FFF2-40B4-BE49-F238E27FC236}">
                <a16:creationId xmlns:a16="http://schemas.microsoft.com/office/drawing/2014/main" id="{21860EE9-1D54-4890-BA25-82EEE1F55E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3583" y="5529996"/>
            <a:ext cx="252028" cy="25202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940A7D6B-F4CD-4576-86E4-E1C99C3355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3152" y="5898188"/>
            <a:ext cx="192890" cy="192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2377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паттерном и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id="{1C442878-F4C2-4530-A4A9-D1022633EE6F}"/>
              </a:ext>
            </a:extLst>
          </p:cNvPr>
          <p:cNvSpPr/>
          <p:nvPr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id="{1080C500-E1F3-41A1-859D-E9BB186C608F}"/>
              </a:ext>
            </a:extLst>
          </p:cNvPr>
          <p:cNvSpPr/>
          <p:nvPr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id="{74A4B6E7-2238-4377-9F71-463F621D9F03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id="{9969CFF9-EA23-4816-A325-913254C85A5D}"/>
              </a:ext>
            </a:extLst>
          </p:cNvPr>
          <p:cNvSpPr/>
          <p:nvPr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id="{EBBD11E5-3800-4C06-8C9D-FA6A9A56A45A}"/>
              </a:ext>
            </a:extLst>
          </p:cNvPr>
          <p:cNvSpPr/>
          <p:nvPr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id="{91B0E24D-062D-4366-B715-F55EF2FBDB9D}"/>
              </a:ext>
            </a:extLst>
          </p:cNvPr>
          <p:cNvSpPr/>
          <p:nvPr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7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id="{BF3FCD6D-06D6-4940-8A8A-C0D3C72A5930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id="{EA90A305-B0ED-471E-AC84-D59C48E4B839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id="{091B8521-7793-4693-B444-4C03B3B4A9CD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grpSp>
        <p:nvGrpSpPr>
          <p:cNvPr id="8" name="Рисунок 3">
            <a:extLst>
              <a:ext uri="{FF2B5EF4-FFF2-40B4-BE49-F238E27FC236}">
                <a16:creationId xmlns:a16="http://schemas.microsoft.com/office/drawing/2014/main" id="{D663A8F4-12F9-49EE-A891-BBC78F6B8D5D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9EB08345-EDEA-4E5F-8C73-ECA9ED5D8D65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C4E78553-2D46-4B56-A19D-70262B236649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28" name="Текст 39">
            <a:extLst>
              <a:ext uri="{FF2B5EF4-FFF2-40B4-BE49-F238E27FC236}">
                <a16:creationId xmlns:a16="http://schemas.microsoft.com/office/drawing/2014/main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29" name="Текст 26">
            <a:extLst>
              <a:ext uri="{FF2B5EF4-FFF2-40B4-BE49-F238E27FC236}">
                <a16:creationId xmlns:a16="http://schemas.microsoft.com/office/drawing/2014/main" id="{D643C23A-21DF-4A11-9613-BE047F654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30" name="Текст 26">
            <a:extLst>
              <a:ext uri="{FF2B5EF4-FFF2-40B4-BE49-F238E27FC236}">
                <a16:creationId xmlns:a16="http://schemas.microsoft.com/office/drawing/2014/main" id="{96C130DF-2DCF-4E01-A041-882E668D91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5425" y="589338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131" name="Рисунок 10">
            <a:extLst>
              <a:ext uri="{FF2B5EF4-FFF2-40B4-BE49-F238E27FC236}">
                <a16:creationId xmlns:a16="http://schemas.microsoft.com/office/drawing/2014/main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  <p:pic>
        <p:nvPicPr>
          <p:cNvPr id="3" name="Graphic 17">
            <a:extLst>
              <a:ext uri="{FF2B5EF4-FFF2-40B4-BE49-F238E27FC236}">
                <a16:creationId xmlns:a16="http://schemas.microsoft.com/office/drawing/2014/main" id="{2C9AA463-E793-494A-8206-B6BED4BC28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3583" y="5529996"/>
            <a:ext cx="252028" cy="252028"/>
          </a:xfrm>
          <a:prstGeom prst="rect">
            <a:avLst/>
          </a:prstGeom>
        </p:spPr>
      </p:pic>
      <p:pic>
        <p:nvPicPr>
          <p:cNvPr id="4" name="Graphic 5">
            <a:extLst>
              <a:ext uri="{FF2B5EF4-FFF2-40B4-BE49-F238E27FC236}">
                <a16:creationId xmlns:a16="http://schemas.microsoft.com/office/drawing/2014/main" id="{67FF1BB9-87BE-4A1D-B320-4EF231DE6EF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3152" y="5898188"/>
            <a:ext cx="192890" cy="192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092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Фото снизу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69F1000-9498-4503-8A1B-A9F2F74796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4" name="Рисунок 23">
            <a:extLst>
              <a:ext uri="{FF2B5EF4-FFF2-40B4-BE49-F238E27FC236}">
                <a16:creationId xmlns:a16="http://schemas.microsoft.com/office/drawing/2014/main" id="{54C8E9FF-1179-4A71-BA7A-F9962932E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96" y="3408220"/>
            <a:ext cx="12192000" cy="3449781"/>
          </a:xfrm>
          <a:custGeom>
            <a:avLst/>
            <a:gdLst>
              <a:gd name="connsiteX0" fmla="*/ 0 w 12192000"/>
              <a:gd name="connsiteY0" fmla="*/ 0 h 3449781"/>
              <a:gd name="connsiteX1" fmla="*/ 12192000 w 12192000"/>
              <a:gd name="connsiteY1" fmla="*/ 0 h 3449781"/>
              <a:gd name="connsiteX2" fmla="*/ 12192000 w 12192000"/>
              <a:gd name="connsiteY2" fmla="*/ 3449781 h 3449781"/>
              <a:gd name="connsiteX3" fmla="*/ 0 w 12192000"/>
              <a:gd name="connsiteY3" fmla="*/ 3449781 h 3449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49781">
                <a:moveTo>
                  <a:pt x="0" y="0"/>
                </a:moveTo>
                <a:lnTo>
                  <a:pt x="12192000" y="0"/>
                </a:lnTo>
                <a:lnTo>
                  <a:pt x="12192000" y="3449781"/>
                </a:lnTo>
                <a:lnTo>
                  <a:pt x="0" y="3449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28468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accent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0" name="Текст 26">
            <a:extLst>
              <a:ext uri="{FF2B5EF4-FFF2-40B4-BE49-F238E27FC236}">
                <a16:creationId xmlns:a16="http://schemas.microsoft.com/office/drawing/2014/main" id="{C6420719-76EA-45F3-B4D3-EBCB4430D9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08094B0E-B9DC-41A9-8742-E62D5644B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89338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E705B174-2BCB-475F-B5F7-2AC86EA893A5}"/>
              </a:ext>
            </a:extLst>
          </p:cNvPr>
          <p:cNvSpPr/>
          <p:nvPr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Полилиния: фигура 36">
            <a:extLst>
              <a:ext uri="{FF2B5EF4-FFF2-40B4-BE49-F238E27FC236}">
                <a16:creationId xmlns:a16="http://schemas.microsoft.com/office/drawing/2014/main" id="{0279107F-963C-4D85-BC66-580B5F59AE9D}"/>
              </a:ext>
            </a:extLst>
          </p:cNvPr>
          <p:cNvSpPr/>
          <p:nvPr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1AA05226-25F0-4779-B93C-63C888129E15}"/>
              </a:ext>
            </a:extLst>
          </p:cNvPr>
          <p:cNvSpPr/>
          <p:nvPr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id="{5E0FE2BA-B08F-41AC-B695-558ED857DAAF}"/>
              </a:ext>
            </a:extLst>
          </p:cNvPr>
          <p:cNvSpPr/>
          <p:nvPr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F54BF84A-3A49-46E7-BBCD-BB696C95E90B}"/>
              </a:ext>
            </a:extLst>
          </p:cNvPr>
          <p:cNvSpPr/>
          <p:nvPr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id="{E9AB1E05-C0C5-4FDD-B60D-054B6347BF52}"/>
              </a:ext>
            </a:extLst>
          </p:cNvPr>
          <p:cNvSpPr/>
          <p:nvPr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B4A30386-E577-43D2-B52B-1B7FBAD6C03D}"/>
              </a:ext>
            </a:extLst>
          </p:cNvPr>
          <p:cNvSpPr/>
          <p:nvPr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Полилиния: фигура 30">
            <a:extLst>
              <a:ext uri="{FF2B5EF4-FFF2-40B4-BE49-F238E27FC236}">
                <a16:creationId xmlns:a16="http://schemas.microsoft.com/office/drawing/2014/main" id="{7EDCF66B-6839-42A8-8548-EEB6D7A54DD9}"/>
              </a:ext>
            </a:extLst>
          </p:cNvPr>
          <p:cNvSpPr/>
          <p:nvPr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9E8F511C-6A5E-4D3B-B61B-7480067C96BF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3" name="Полилиния: фигура 42">
            <a:extLst>
              <a:ext uri="{FF2B5EF4-FFF2-40B4-BE49-F238E27FC236}">
                <a16:creationId xmlns:a16="http://schemas.microsoft.com/office/drawing/2014/main" id="{18D1C764-45FD-4989-8FCD-7756DC96AC35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accent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2" name="Graphic 17">
            <a:extLst>
              <a:ext uri="{FF2B5EF4-FFF2-40B4-BE49-F238E27FC236}">
                <a16:creationId xmlns:a16="http://schemas.microsoft.com/office/drawing/2014/main" id="{59EEFF78-1504-4AE7-B6D5-04ACF1E9B3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3583" y="5529996"/>
            <a:ext cx="252028" cy="252028"/>
          </a:xfrm>
          <a:prstGeom prst="rect">
            <a:avLst/>
          </a:prstGeom>
        </p:spPr>
      </p:pic>
      <p:pic>
        <p:nvPicPr>
          <p:cNvPr id="3" name="Graphic 5">
            <a:extLst>
              <a:ext uri="{FF2B5EF4-FFF2-40B4-BE49-F238E27FC236}">
                <a16:creationId xmlns:a16="http://schemas.microsoft.com/office/drawing/2014/main" id="{5514F9D7-2A08-456F-9B5F-67F89D71101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3152" y="5898188"/>
            <a:ext cx="192890" cy="192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1233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кругов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888508"/>
            <a:ext cx="6176427" cy="1929759"/>
          </a:xfrm>
        </p:spPr>
        <p:txBody>
          <a:bodyPr wrap="square" anchor="ctr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600" b="1">
                <a:solidFill>
                  <a:schemeClr val="accent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accent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3" name="Дуга 22">
            <a:extLst>
              <a:ext uri="{FF2B5EF4-FFF2-40B4-BE49-F238E27FC236}">
                <a16:creationId xmlns:a16="http://schemas.microsoft.com/office/drawing/2014/main" id="{4C3B535E-684D-426C-8ADE-C03140386582}"/>
              </a:ext>
            </a:extLst>
          </p:cNvPr>
          <p:cNvSpPr/>
          <p:nvPr/>
        </p:nvSpPr>
        <p:spPr bwMode="auto">
          <a:xfrm rot="3600000">
            <a:off x="10171446" y="2477067"/>
            <a:ext cx="2410528" cy="2410528"/>
          </a:xfrm>
          <a:prstGeom prst="arc">
            <a:avLst>
              <a:gd name="adj1" fmla="val 10194380"/>
              <a:gd name="adj2" fmla="val 19371489"/>
            </a:avLst>
          </a:prstGeom>
          <a:noFill/>
          <a:ln w="6127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Дуга 23">
            <a:extLst>
              <a:ext uri="{FF2B5EF4-FFF2-40B4-BE49-F238E27FC236}">
                <a16:creationId xmlns:a16="http://schemas.microsoft.com/office/drawing/2014/main" id="{10AC72FE-A8ED-47AA-A6B1-13C20BE18903}"/>
              </a:ext>
            </a:extLst>
          </p:cNvPr>
          <p:cNvSpPr/>
          <p:nvPr/>
        </p:nvSpPr>
        <p:spPr bwMode="auto">
          <a:xfrm rot="3600000">
            <a:off x="9587597" y="1884753"/>
            <a:ext cx="3604045" cy="3604045"/>
          </a:xfrm>
          <a:prstGeom prst="arc">
            <a:avLst>
              <a:gd name="adj1" fmla="val 7022578"/>
              <a:gd name="adj2" fmla="val 18021140"/>
            </a:avLst>
          </a:prstGeom>
          <a:noFill/>
          <a:ln w="61277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Дуга 25">
            <a:extLst>
              <a:ext uri="{FF2B5EF4-FFF2-40B4-BE49-F238E27FC236}">
                <a16:creationId xmlns:a16="http://schemas.microsoft.com/office/drawing/2014/main" id="{96BE5786-7306-4265-81AC-40FA7DBE2D77}"/>
              </a:ext>
            </a:extLst>
          </p:cNvPr>
          <p:cNvSpPr/>
          <p:nvPr/>
        </p:nvSpPr>
        <p:spPr bwMode="auto">
          <a:xfrm rot="3600000">
            <a:off x="8979579" y="1276735"/>
            <a:ext cx="4820082" cy="4820082"/>
          </a:xfrm>
          <a:prstGeom prst="arc">
            <a:avLst>
              <a:gd name="adj1" fmla="val 20794557"/>
              <a:gd name="adj2" fmla="val 5166418"/>
            </a:avLst>
          </a:prstGeom>
          <a:noFill/>
          <a:ln w="612775" cap="flat" cmpd="sng" algn="ctr">
            <a:gradFill>
              <a:gsLst>
                <a:gs pos="28416">
                  <a:srgbClr val="4F5657"/>
                </a:gs>
                <a:gs pos="0">
                  <a:srgbClr val="C9C8C9"/>
                </a:gs>
                <a:gs pos="83000">
                  <a:srgbClr val="D6D6D8"/>
                </a:gs>
                <a:gs pos="100000">
                  <a:srgbClr val="848A90"/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Дуга 26">
            <a:extLst>
              <a:ext uri="{FF2B5EF4-FFF2-40B4-BE49-F238E27FC236}">
                <a16:creationId xmlns:a16="http://schemas.microsoft.com/office/drawing/2014/main" id="{6BE4109A-C517-4E4F-BD7F-48E0B181EFAF}"/>
              </a:ext>
            </a:extLst>
          </p:cNvPr>
          <p:cNvSpPr/>
          <p:nvPr/>
        </p:nvSpPr>
        <p:spPr bwMode="auto">
          <a:xfrm rot="3600000">
            <a:off x="7744703" y="41859"/>
            <a:ext cx="7289835" cy="7289835"/>
          </a:xfrm>
          <a:prstGeom prst="arc">
            <a:avLst>
              <a:gd name="adj1" fmla="val 7093785"/>
              <a:gd name="adj2" fmla="val 13987603"/>
            </a:avLst>
          </a:prstGeom>
          <a:noFill/>
          <a:ln w="6127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" name="Дуга 28">
            <a:extLst>
              <a:ext uri="{FF2B5EF4-FFF2-40B4-BE49-F238E27FC236}">
                <a16:creationId xmlns:a16="http://schemas.microsoft.com/office/drawing/2014/main" id="{740777A4-C028-41DE-B040-61B8A5E3824F}"/>
              </a:ext>
            </a:extLst>
          </p:cNvPr>
          <p:cNvSpPr/>
          <p:nvPr userDrawn="1"/>
        </p:nvSpPr>
        <p:spPr bwMode="auto">
          <a:xfrm rot="3600000">
            <a:off x="8362248" y="659404"/>
            <a:ext cx="6054745" cy="6054745"/>
          </a:xfrm>
          <a:prstGeom prst="arc">
            <a:avLst>
              <a:gd name="adj1" fmla="val 388953"/>
              <a:gd name="adj2" fmla="val 6187821"/>
            </a:avLst>
          </a:prstGeom>
          <a:noFill/>
          <a:ln w="6127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2" name="Дуга 31">
            <a:extLst>
              <a:ext uri="{FF2B5EF4-FFF2-40B4-BE49-F238E27FC236}">
                <a16:creationId xmlns:a16="http://schemas.microsoft.com/office/drawing/2014/main" id="{16FBF844-8C37-4703-8E8B-30B62A01BCCB}"/>
              </a:ext>
            </a:extLst>
          </p:cNvPr>
          <p:cNvSpPr/>
          <p:nvPr userDrawn="1"/>
        </p:nvSpPr>
        <p:spPr bwMode="auto">
          <a:xfrm rot="3600000">
            <a:off x="10785414" y="3091035"/>
            <a:ext cx="1182592" cy="1182592"/>
          </a:xfrm>
          <a:prstGeom prst="arc">
            <a:avLst>
              <a:gd name="adj1" fmla="val 15067993"/>
              <a:gd name="adj2" fmla="val 3529940"/>
            </a:avLst>
          </a:prstGeom>
          <a:noFill/>
          <a:ln w="612775" cap="flat" cmpd="sng" algn="ctr">
            <a:gradFill>
              <a:gsLst>
                <a:gs pos="28416">
                  <a:srgbClr val="4F5657"/>
                </a:gs>
                <a:gs pos="0">
                  <a:srgbClr val="C9C8C9"/>
                </a:gs>
                <a:gs pos="83000">
                  <a:srgbClr val="D6D6D8"/>
                </a:gs>
                <a:gs pos="100000">
                  <a:srgbClr val="848A90"/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11313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ение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888508"/>
            <a:ext cx="6176427" cy="1929759"/>
          </a:xfrm>
        </p:spPr>
        <p:txBody>
          <a:bodyPr wrap="square" anchor="ctr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600" b="1">
                <a:solidFill>
                  <a:schemeClr val="accent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accent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Полилиния: фигура 1">
            <a:extLst>
              <a:ext uri="{FF2B5EF4-FFF2-40B4-BE49-F238E27FC236}">
                <a16:creationId xmlns:a16="http://schemas.microsoft.com/office/drawing/2014/main" id="{DB8C6F4E-80AE-4CB3-82F3-E0629F85E98A}"/>
              </a:ext>
            </a:extLst>
          </p:cNvPr>
          <p:cNvSpPr/>
          <p:nvPr userDrawn="1"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Полилиния: фигура 2">
            <a:extLst>
              <a:ext uri="{FF2B5EF4-FFF2-40B4-BE49-F238E27FC236}">
                <a16:creationId xmlns:a16="http://schemas.microsoft.com/office/drawing/2014/main" id="{CB3A444A-E5F0-4FFD-9DC1-CD7FB326DAB6}"/>
              </a:ext>
            </a:extLst>
          </p:cNvPr>
          <p:cNvSpPr/>
          <p:nvPr userDrawn="1"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Полилиния: фигура 3">
            <a:extLst>
              <a:ext uri="{FF2B5EF4-FFF2-40B4-BE49-F238E27FC236}">
                <a16:creationId xmlns:a16="http://schemas.microsoft.com/office/drawing/2014/main" id="{8865A60B-ACD4-45F8-AF22-1F5B2DA9790D}"/>
              </a:ext>
            </a:extLst>
          </p:cNvPr>
          <p:cNvSpPr/>
          <p:nvPr userDrawn="1"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Полилиния: фигура 4">
            <a:extLst>
              <a:ext uri="{FF2B5EF4-FFF2-40B4-BE49-F238E27FC236}">
                <a16:creationId xmlns:a16="http://schemas.microsoft.com/office/drawing/2014/main" id="{7836FD41-14BD-4C48-9332-1ED0825F86BF}"/>
              </a:ext>
            </a:extLst>
          </p:cNvPr>
          <p:cNvSpPr/>
          <p:nvPr userDrawn="1"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олилиния: фигура 5">
            <a:extLst>
              <a:ext uri="{FF2B5EF4-FFF2-40B4-BE49-F238E27FC236}">
                <a16:creationId xmlns:a16="http://schemas.microsoft.com/office/drawing/2014/main" id="{18EA802B-A64D-4D87-B785-A9C1BBD630BE}"/>
              </a:ext>
            </a:extLst>
          </p:cNvPr>
          <p:cNvSpPr/>
          <p:nvPr userDrawn="1"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олилиния: фигура 6">
            <a:extLst>
              <a:ext uri="{FF2B5EF4-FFF2-40B4-BE49-F238E27FC236}">
                <a16:creationId xmlns:a16="http://schemas.microsoft.com/office/drawing/2014/main" id="{8565576C-67AB-4679-AB14-104440A43FD3}"/>
              </a:ext>
            </a:extLst>
          </p:cNvPr>
          <p:cNvSpPr/>
          <p:nvPr userDrawn="1"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DF96CDC5-1835-4B1A-B51F-B61DD3293AA9}"/>
              </a:ext>
            </a:extLst>
          </p:cNvPr>
          <p:cNvSpPr/>
          <p:nvPr userDrawn="1"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A9776F79-468B-44C6-8B11-6209C717CA67}"/>
              </a:ext>
            </a:extLst>
          </p:cNvPr>
          <p:cNvSpPr/>
          <p:nvPr userDrawn="1"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7C1924A7-5BBA-4DD5-9D00-1D7C79A565F0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" name="Полилиния: фигура 12">
            <a:extLst>
              <a:ext uri="{FF2B5EF4-FFF2-40B4-BE49-F238E27FC236}">
                <a16:creationId xmlns:a16="http://schemas.microsoft.com/office/drawing/2014/main" id="{44E97757-9271-4211-9749-1E9D34CAD44F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2072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диагональной суперграфикой синий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Рисунок 3">
            <a:extLst>
              <a:ext uri="{FF2B5EF4-FFF2-40B4-BE49-F238E27FC236}">
                <a16:creationId xmlns:a16="http://schemas.microsoft.com/office/drawing/2014/main" id="{3AF7360D-0ACE-49A4-BFCB-664580DCE466}"/>
              </a:ext>
            </a:extLst>
          </p:cNvPr>
          <p:cNvGrpSpPr/>
          <p:nvPr userDrawn="1"/>
        </p:nvGrpSpPr>
        <p:grpSpPr>
          <a:xfrm>
            <a:off x="403201" y="647761"/>
            <a:ext cx="3352539" cy="1044171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3" name="Полилиния: фигура 2">
              <a:extLst>
                <a:ext uri="{FF2B5EF4-FFF2-40B4-BE49-F238E27FC236}">
                  <a16:creationId xmlns:a16="http://schemas.microsoft.com/office/drawing/2014/main" id="{F6481FE0-98D1-47DB-A94C-AC28AB728833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Полилиния: фигура 3">
              <a:extLst>
                <a:ext uri="{FF2B5EF4-FFF2-40B4-BE49-F238E27FC236}">
                  <a16:creationId xmlns:a16="http://schemas.microsoft.com/office/drawing/2014/main" id="{B11FC44A-196E-443A-B14F-64CB50F4802A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8F4C8739-0D64-4D24-9292-4DA86A346971}"/>
              </a:ext>
            </a:extLst>
          </p:cNvPr>
          <p:cNvGrpSpPr/>
          <p:nvPr userDrawn="1"/>
        </p:nvGrpSpPr>
        <p:grpSpPr>
          <a:xfrm>
            <a:off x="7717485" y="-1409700"/>
            <a:ext cx="7898715" cy="8267700"/>
            <a:chOff x="7717485" y="-1409700"/>
            <a:chExt cx="7898715" cy="8267700"/>
          </a:xfrm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0A7705CA-8C8A-4C11-8D88-32DCA6E8700D}"/>
                </a:ext>
              </a:extLst>
            </p:cNvPr>
            <p:cNvSpPr/>
            <p:nvPr/>
          </p:nvSpPr>
          <p:spPr>
            <a:xfrm>
              <a:off x="11107241" y="-1409700"/>
              <a:ext cx="4508959" cy="3757209"/>
            </a:xfrm>
            <a:custGeom>
              <a:avLst/>
              <a:gdLst>
                <a:gd name="connsiteX0" fmla="*/ 3116580 w 3740150"/>
                <a:gd name="connsiteY0" fmla="*/ 0 h 3116579"/>
                <a:gd name="connsiteX1" fmla="*/ 0 w 3740150"/>
                <a:gd name="connsiteY1" fmla="*/ 3116580 h 3116579"/>
                <a:gd name="connsiteX2" fmla="*/ 623570 w 3740150"/>
                <a:gd name="connsiteY2" fmla="*/ 3116580 h 3116579"/>
                <a:gd name="connsiteX3" fmla="*/ 3740150 w 3740150"/>
                <a:gd name="connsiteY3" fmla="*/ 0 h 311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40150" h="3116579">
                  <a:moveTo>
                    <a:pt x="3116580" y="0"/>
                  </a:moveTo>
                  <a:lnTo>
                    <a:pt x="0" y="3116580"/>
                  </a:lnTo>
                  <a:lnTo>
                    <a:pt x="623570" y="3116580"/>
                  </a:lnTo>
                  <a:lnTo>
                    <a:pt x="3740150" y="0"/>
                  </a:lnTo>
                  <a:close/>
                </a:path>
              </a:pathLst>
            </a:custGeom>
            <a:solidFill>
              <a:srgbClr val="002F6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E9EB22CF-CA57-4EC6-9C31-3BC2BD0507AD}"/>
                </a:ext>
              </a:extLst>
            </p:cNvPr>
            <p:cNvSpPr/>
            <p:nvPr/>
          </p:nvSpPr>
          <p:spPr>
            <a:xfrm>
              <a:off x="9603745" y="-1409700"/>
              <a:ext cx="4508959" cy="3757209"/>
            </a:xfrm>
            <a:custGeom>
              <a:avLst/>
              <a:gdLst>
                <a:gd name="connsiteX0" fmla="*/ 3116580 w 3740150"/>
                <a:gd name="connsiteY0" fmla="*/ 0 h 3116579"/>
                <a:gd name="connsiteX1" fmla="*/ 0 w 3740150"/>
                <a:gd name="connsiteY1" fmla="*/ 3116580 h 3116579"/>
                <a:gd name="connsiteX2" fmla="*/ 623570 w 3740150"/>
                <a:gd name="connsiteY2" fmla="*/ 3116580 h 3116579"/>
                <a:gd name="connsiteX3" fmla="*/ 3740150 w 3740150"/>
                <a:gd name="connsiteY3" fmla="*/ 0 h 311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40150" h="3116579">
                  <a:moveTo>
                    <a:pt x="3116580" y="0"/>
                  </a:moveTo>
                  <a:lnTo>
                    <a:pt x="0" y="3116580"/>
                  </a:lnTo>
                  <a:lnTo>
                    <a:pt x="623570" y="3116580"/>
                  </a:lnTo>
                  <a:lnTo>
                    <a:pt x="3740150" y="0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18900000" scaled="1"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EE2853F8-94FB-4300-90C2-C82956DE92A4}"/>
                </a:ext>
              </a:extLst>
            </p:cNvPr>
            <p:cNvSpPr/>
            <p:nvPr/>
          </p:nvSpPr>
          <p:spPr>
            <a:xfrm>
              <a:off x="8100248" y="4978629"/>
              <a:ext cx="2631118" cy="1879371"/>
            </a:xfrm>
            <a:custGeom>
              <a:avLst/>
              <a:gdLst>
                <a:gd name="connsiteX0" fmla="*/ 1558925 w 2182494"/>
                <a:gd name="connsiteY0" fmla="*/ 0 h 1558925"/>
                <a:gd name="connsiteX1" fmla="*/ 0 w 2182494"/>
                <a:gd name="connsiteY1" fmla="*/ 1558925 h 1558925"/>
                <a:gd name="connsiteX2" fmla="*/ 623570 w 2182494"/>
                <a:gd name="connsiteY2" fmla="*/ 1558925 h 1558925"/>
                <a:gd name="connsiteX3" fmla="*/ 2182495 w 2182494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494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24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D62CB5CA-EAF9-446B-8EC4-BE78F12F17F1}"/>
                </a:ext>
              </a:extLst>
            </p:cNvPr>
            <p:cNvSpPr/>
            <p:nvPr/>
          </p:nvSpPr>
          <p:spPr>
            <a:xfrm>
              <a:off x="7717485" y="4978629"/>
              <a:ext cx="6889" cy="6890"/>
            </a:xfrm>
            <a:custGeom>
              <a:avLst/>
              <a:gdLst>
                <a:gd name="connsiteX0" fmla="*/ 0 w 5714"/>
                <a:gd name="connsiteY0" fmla="*/ 0 h 5715"/>
                <a:gd name="connsiteX1" fmla="*/ 0 w 5714"/>
                <a:gd name="connsiteY1" fmla="*/ 5715 h 5715"/>
                <a:gd name="connsiteX2" fmla="*/ 5715 w 5714"/>
                <a:gd name="connsiteY2" fmla="*/ 0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4" h="5715">
                  <a:moveTo>
                    <a:pt x="0" y="0"/>
                  </a:moveTo>
                  <a:lnTo>
                    <a:pt x="0" y="5715"/>
                  </a:lnTo>
                  <a:lnTo>
                    <a:pt x="5715" y="0"/>
                  </a:lnTo>
                  <a:close/>
                </a:path>
              </a:pathLst>
            </a:custGeom>
            <a:solidFill>
              <a:srgbClr val="002F6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C00CA567-3944-4ABA-A6C7-2FB6947F548D}"/>
                </a:ext>
              </a:extLst>
            </p:cNvPr>
            <p:cNvSpPr/>
            <p:nvPr/>
          </p:nvSpPr>
          <p:spPr>
            <a:xfrm>
              <a:off x="9603745" y="4978629"/>
              <a:ext cx="2630352" cy="1879371"/>
            </a:xfrm>
            <a:custGeom>
              <a:avLst/>
              <a:gdLst>
                <a:gd name="connsiteX0" fmla="*/ 1558925 w 2181859"/>
                <a:gd name="connsiteY0" fmla="*/ 0 h 1558925"/>
                <a:gd name="connsiteX1" fmla="*/ 0 w 2181859"/>
                <a:gd name="connsiteY1" fmla="*/ 1558925 h 1558925"/>
                <a:gd name="connsiteX2" fmla="*/ 623570 w 2181859"/>
                <a:gd name="connsiteY2" fmla="*/ 1558925 h 1558925"/>
                <a:gd name="connsiteX3" fmla="*/ 2181860 w 2181859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1859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186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C7981DD3-0670-4919-B3C1-523E67D2ED97}"/>
                </a:ext>
              </a:extLst>
            </p:cNvPr>
            <p:cNvSpPr/>
            <p:nvPr/>
          </p:nvSpPr>
          <p:spPr>
            <a:xfrm>
              <a:off x="10731367" y="2347509"/>
              <a:ext cx="3382101" cy="2631119"/>
            </a:xfrm>
            <a:custGeom>
              <a:avLst/>
              <a:gdLst>
                <a:gd name="connsiteX0" fmla="*/ 2181860 w 2805429"/>
                <a:gd name="connsiteY0" fmla="*/ 0 h 2182495"/>
                <a:gd name="connsiteX1" fmla="*/ 0 w 2805429"/>
                <a:gd name="connsiteY1" fmla="*/ 2182495 h 2182495"/>
                <a:gd name="connsiteX2" fmla="*/ 623570 w 2805429"/>
                <a:gd name="connsiteY2" fmla="*/ 2182495 h 2182495"/>
                <a:gd name="connsiteX3" fmla="*/ 2805430 w 2805429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5429" h="2182495">
                  <a:moveTo>
                    <a:pt x="2181860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5430" y="0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50B0CEB-6342-4EE6-B2EB-1DDDC71FC0D5}"/>
                </a:ext>
              </a:extLst>
            </p:cNvPr>
            <p:cNvSpPr/>
            <p:nvPr/>
          </p:nvSpPr>
          <p:spPr>
            <a:xfrm>
              <a:off x="7724375" y="2347509"/>
              <a:ext cx="3382866" cy="2631119"/>
            </a:xfrm>
            <a:custGeom>
              <a:avLst/>
              <a:gdLst>
                <a:gd name="connsiteX0" fmla="*/ 2182495 w 2806064"/>
                <a:gd name="connsiteY0" fmla="*/ 0 h 2182495"/>
                <a:gd name="connsiteX1" fmla="*/ 0 w 2806064"/>
                <a:gd name="connsiteY1" fmla="*/ 2182495 h 2182495"/>
                <a:gd name="connsiteX2" fmla="*/ 623570 w 2806064"/>
                <a:gd name="connsiteY2" fmla="*/ 2182495 h 2182495"/>
                <a:gd name="connsiteX3" fmla="*/ 2806065 w 2806064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6064" h="2182495">
                  <a:moveTo>
                    <a:pt x="2182495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606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3199B1E9-72E3-4CB4-9688-694170FD6D49}"/>
                </a:ext>
              </a:extLst>
            </p:cNvPr>
            <p:cNvSpPr/>
            <p:nvPr/>
          </p:nvSpPr>
          <p:spPr>
            <a:xfrm>
              <a:off x="9207200" y="2347509"/>
              <a:ext cx="3382866" cy="2631119"/>
            </a:xfrm>
            <a:custGeom>
              <a:avLst/>
              <a:gdLst>
                <a:gd name="connsiteX0" fmla="*/ 2182495 w 2806064"/>
                <a:gd name="connsiteY0" fmla="*/ 0 h 2182495"/>
                <a:gd name="connsiteX1" fmla="*/ 0 w 2806064"/>
                <a:gd name="connsiteY1" fmla="*/ 2182495 h 2182495"/>
                <a:gd name="connsiteX2" fmla="*/ 623570 w 2806064"/>
                <a:gd name="connsiteY2" fmla="*/ 2182495 h 2182495"/>
                <a:gd name="connsiteX3" fmla="*/ 2806065 w 2806064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6064" h="2182495">
                  <a:moveTo>
                    <a:pt x="2182495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6065" y="0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5" name="Текст 39">
            <a:extLst>
              <a:ext uri="{FF2B5EF4-FFF2-40B4-BE49-F238E27FC236}">
                <a16:creationId xmlns:a16="http://schemas.microsoft.com/office/drawing/2014/main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894454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454464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488435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pic>
        <p:nvPicPr>
          <p:cNvPr id="14" name="Graphic 17">
            <a:extLst>
              <a:ext uri="{FF2B5EF4-FFF2-40B4-BE49-F238E27FC236}">
                <a16:creationId xmlns:a16="http://schemas.microsoft.com/office/drawing/2014/main" id="{67E33C7A-8A8F-4E25-8819-7C6CF003FD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3583" y="4531188"/>
            <a:ext cx="252028" cy="252028"/>
          </a:xfrm>
          <a:prstGeom prst="rect">
            <a:avLst/>
          </a:prstGeom>
        </p:spPr>
      </p:pic>
      <p:pic>
        <p:nvPicPr>
          <p:cNvPr id="15" name="Graphic 5">
            <a:extLst>
              <a:ext uri="{FF2B5EF4-FFF2-40B4-BE49-F238E27FC236}">
                <a16:creationId xmlns:a16="http://schemas.microsoft.com/office/drawing/2014/main" id="{C9A8D45A-D37B-427B-97A6-183FFB1D044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3152" y="4887836"/>
            <a:ext cx="192890" cy="192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9385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иний титул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Рисунок 3">
            <a:extLst>
              <a:ext uri="{FF2B5EF4-FFF2-40B4-BE49-F238E27FC236}">
                <a16:creationId xmlns:a16="http://schemas.microsoft.com/office/drawing/2014/main" id="{3AF7360D-0ACE-49A4-BFCB-664580DCE466}"/>
              </a:ext>
            </a:extLst>
          </p:cNvPr>
          <p:cNvGrpSpPr/>
          <p:nvPr userDrawn="1"/>
        </p:nvGrpSpPr>
        <p:grpSpPr>
          <a:xfrm>
            <a:off x="403201" y="647761"/>
            <a:ext cx="3352539" cy="1044171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3" name="Полилиния: фигура 2">
              <a:extLst>
                <a:ext uri="{FF2B5EF4-FFF2-40B4-BE49-F238E27FC236}">
                  <a16:creationId xmlns:a16="http://schemas.microsoft.com/office/drawing/2014/main" id="{F6481FE0-98D1-47DB-A94C-AC28AB728833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Полилиния: фигура 3">
              <a:extLst>
                <a:ext uri="{FF2B5EF4-FFF2-40B4-BE49-F238E27FC236}">
                  <a16:creationId xmlns:a16="http://schemas.microsoft.com/office/drawing/2014/main" id="{B11FC44A-196E-443A-B14F-64CB50F4802A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5" name="Текст 39">
            <a:extLst>
              <a:ext uri="{FF2B5EF4-FFF2-40B4-BE49-F238E27FC236}">
                <a16:creationId xmlns:a16="http://schemas.microsoft.com/office/drawing/2014/main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894454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4544645"/>
            <a:ext cx="2574925" cy="204671"/>
          </a:xfrm>
        </p:spPr>
        <p:txBody>
          <a:bodyPr anchor="ctr">
            <a:spAutoFit/>
          </a:bodyPr>
          <a:lstStyle>
            <a:lvl1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4884353"/>
            <a:ext cx="2574925" cy="204671"/>
          </a:xfrm>
        </p:spPr>
        <p:txBody>
          <a:bodyPr anchor="ctr">
            <a:spAutoFit/>
          </a:bodyPr>
          <a:lstStyle>
            <a:lvl1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ата мероприятия</a:t>
            </a:r>
          </a:p>
        </p:txBody>
      </p:sp>
      <p:pic>
        <p:nvPicPr>
          <p:cNvPr id="5" name="Graphic 17">
            <a:extLst>
              <a:ext uri="{FF2B5EF4-FFF2-40B4-BE49-F238E27FC236}">
                <a16:creationId xmlns:a16="http://schemas.microsoft.com/office/drawing/2014/main" id="{C3B7CBEA-8AD0-441A-A1D4-0F139AA06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3583" y="4531188"/>
            <a:ext cx="252028" cy="25202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0ED128A5-3EB3-44B8-9514-60A5376432F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3152" y="4887836"/>
            <a:ext cx="192890" cy="192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69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23532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иний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054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иагональный паттерн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4CE0A532-2796-40D5-A00D-592B82F1A2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0"/>
            <a:ext cx="12190476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769D422-068F-4038-B61F-055EE178BF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728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id="{1C442878-F4C2-4530-A4A9-D1022633EE6F}"/>
              </a:ext>
            </a:extLst>
          </p:cNvPr>
          <p:cNvSpPr/>
          <p:nvPr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id="{1080C500-E1F3-41A1-859D-E9BB186C608F}"/>
              </a:ext>
            </a:extLst>
          </p:cNvPr>
          <p:cNvSpPr/>
          <p:nvPr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id="{74A4B6E7-2238-4377-9F71-463F621D9F03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id="{9969CFF9-EA23-4816-A325-913254C85A5D}"/>
              </a:ext>
            </a:extLst>
          </p:cNvPr>
          <p:cNvSpPr/>
          <p:nvPr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id="{EBBD11E5-3800-4C06-8C9D-FA6A9A56A45A}"/>
              </a:ext>
            </a:extLst>
          </p:cNvPr>
          <p:cNvSpPr/>
          <p:nvPr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id="{91B0E24D-062D-4366-B715-F55EF2FBDB9D}"/>
              </a:ext>
            </a:extLst>
          </p:cNvPr>
          <p:cNvSpPr/>
          <p:nvPr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7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id="{BF3FCD6D-06D6-4940-8A8A-C0D3C72A5930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id="{EA90A305-B0ED-471E-AC84-D59C48E4B839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id="{091B8521-7793-4693-B444-4C03B3B4A9CD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28" name="Текст 39">
            <a:extLst>
              <a:ext uri="{FF2B5EF4-FFF2-40B4-BE49-F238E27FC236}">
                <a16:creationId xmlns:a16="http://schemas.microsoft.com/office/drawing/2014/main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29" y="4257092"/>
            <a:ext cx="6176427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31" name="Рисунок 10">
            <a:extLst>
              <a:ext uri="{FF2B5EF4-FFF2-40B4-BE49-F238E27FC236}">
                <a16:creationId xmlns:a16="http://schemas.microsoft.com/office/drawing/2014/main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93700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едлитель с диагональным паттерном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араллелограмм 6">
            <a:extLst>
              <a:ext uri="{FF2B5EF4-FFF2-40B4-BE49-F238E27FC236}">
                <a16:creationId xmlns:a16="http://schemas.microsoft.com/office/drawing/2014/main" id="{AA4AF783-430B-4C8F-8FCF-932803F467F5}"/>
              </a:ext>
            </a:extLst>
          </p:cNvPr>
          <p:cNvSpPr/>
          <p:nvPr/>
        </p:nvSpPr>
        <p:spPr>
          <a:xfrm>
            <a:off x="354860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араллелограмм 7">
            <a:extLst>
              <a:ext uri="{FF2B5EF4-FFF2-40B4-BE49-F238E27FC236}">
                <a16:creationId xmlns:a16="http://schemas.microsoft.com/office/drawing/2014/main" id="{FEEDDF4E-FD57-41B2-B225-953B6EA027D1}"/>
              </a:ext>
            </a:extLst>
          </p:cNvPr>
          <p:cNvSpPr/>
          <p:nvPr/>
        </p:nvSpPr>
        <p:spPr>
          <a:xfrm>
            <a:off x="594126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Полилиния: фигура 22">
            <a:extLst>
              <a:ext uri="{FF2B5EF4-FFF2-40B4-BE49-F238E27FC236}">
                <a16:creationId xmlns:a16="http://schemas.microsoft.com/office/drawing/2014/main" id="{15FF8BE3-CB84-49EC-B277-FD4E2EEE5729}"/>
              </a:ext>
            </a:extLst>
          </p:cNvPr>
          <p:cNvSpPr/>
          <p:nvPr/>
        </p:nvSpPr>
        <p:spPr>
          <a:xfrm>
            <a:off x="8333928" y="0"/>
            <a:ext cx="3858073" cy="3434914"/>
          </a:xfrm>
          <a:custGeom>
            <a:avLst/>
            <a:gdLst>
              <a:gd name="connsiteX0" fmla="*/ 3304216 w 3858073"/>
              <a:gd name="connsiteY0" fmla="*/ 0 h 3434914"/>
              <a:gd name="connsiteX1" fmla="*/ 3858073 w 3858073"/>
              <a:gd name="connsiteY1" fmla="*/ 0 h 3434914"/>
              <a:gd name="connsiteX2" fmla="*/ 3858073 w 3858073"/>
              <a:gd name="connsiteY2" fmla="*/ 668275 h 3434914"/>
              <a:gd name="connsiteX3" fmla="*/ 1196704 w 3858073"/>
              <a:gd name="connsiteY3" fmla="*/ 3434914 h 3434914"/>
              <a:gd name="connsiteX4" fmla="*/ 0 w 3858073"/>
              <a:gd name="connsiteY4" fmla="*/ 3434914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8073" h="3434914">
                <a:moveTo>
                  <a:pt x="3304216" y="0"/>
                </a:moveTo>
                <a:lnTo>
                  <a:pt x="3858073" y="0"/>
                </a:lnTo>
                <a:lnTo>
                  <a:pt x="3858073" y="668275"/>
                </a:lnTo>
                <a:lnTo>
                  <a:pt x="1196704" y="3434914"/>
                </a:lnTo>
                <a:lnTo>
                  <a:pt x="0" y="3434914"/>
                </a:lnTo>
                <a:close/>
              </a:path>
            </a:pathLst>
          </a:cu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BC1BD6F0-FD89-4582-B4EC-82A01A1E99D9}"/>
              </a:ext>
            </a:extLst>
          </p:cNvPr>
          <p:cNvSpPr/>
          <p:nvPr/>
        </p:nvSpPr>
        <p:spPr>
          <a:xfrm>
            <a:off x="10726588" y="1911538"/>
            <a:ext cx="1465413" cy="1523377"/>
          </a:xfrm>
          <a:custGeom>
            <a:avLst/>
            <a:gdLst>
              <a:gd name="connsiteX0" fmla="*/ 1465413 w 1465413"/>
              <a:gd name="connsiteY0" fmla="*/ 0 h 1523377"/>
              <a:gd name="connsiteX1" fmla="*/ 1465413 w 1465413"/>
              <a:gd name="connsiteY1" fmla="*/ 1244039 h 1523377"/>
              <a:gd name="connsiteX2" fmla="*/ 1196704 w 1465413"/>
              <a:gd name="connsiteY2" fmla="*/ 1523377 h 1523377"/>
              <a:gd name="connsiteX3" fmla="*/ 0 w 1465413"/>
              <a:gd name="connsiteY3" fmla="*/ 1523377 h 1523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65413" h="1523377">
                <a:moveTo>
                  <a:pt x="1465413" y="0"/>
                </a:moveTo>
                <a:lnTo>
                  <a:pt x="1465413" y="1244039"/>
                </a:lnTo>
                <a:lnTo>
                  <a:pt x="1196704" y="1523377"/>
                </a:lnTo>
                <a:lnTo>
                  <a:pt x="0" y="1523377"/>
                </a:lnTo>
                <a:close/>
              </a:path>
            </a:pathLst>
          </a:cu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араллелограмм 10">
            <a:extLst>
              <a:ext uri="{FF2B5EF4-FFF2-40B4-BE49-F238E27FC236}">
                <a16:creationId xmlns:a16="http://schemas.microsoft.com/office/drawing/2014/main" id="{F49C9FF9-DE43-4D1D-95D0-0E28AF19877B}"/>
              </a:ext>
            </a:extLst>
          </p:cNvPr>
          <p:cNvSpPr/>
          <p:nvPr/>
        </p:nvSpPr>
        <p:spPr>
          <a:xfrm>
            <a:off x="1450951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Параллелограмм 11">
            <a:extLst>
              <a:ext uri="{FF2B5EF4-FFF2-40B4-BE49-F238E27FC236}">
                <a16:creationId xmlns:a16="http://schemas.microsoft.com/office/drawing/2014/main" id="{F425DAFD-1B29-415B-9704-2E332FB65534}"/>
              </a:ext>
            </a:extLst>
          </p:cNvPr>
          <p:cNvSpPr/>
          <p:nvPr/>
        </p:nvSpPr>
        <p:spPr>
          <a:xfrm>
            <a:off x="3843613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Параллелограмм 12">
            <a:extLst>
              <a:ext uri="{FF2B5EF4-FFF2-40B4-BE49-F238E27FC236}">
                <a16:creationId xmlns:a16="http://schemas.microsoft.com/office/drawing/2014/main" id="{998314EC-5479-4B3A-B38D-053EE212E841}"/>
              </a:ext>
            </a:extLst>
          </p:cNvPr>
          <p:cNvSpPr/>
          <p:nvPr/>
        </p:nvSpPr>
        <p:spPr>
          <a:xfrm>
            <a:off x="6236274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Полилиния: фигура 25">
            <a:extLst>
              <a:ext uri="{FF2B5EF4-FFF2-40B4-BE49-F238E27FC236}">
                <a16:creationId xmlns:a16="http://schemas.microsoft.com/office/drawing/2014/main" id="{6214A511-888A-4563-85FF-ACEA85EBFFDB}"/>
              </a:ext>
            </a:extLst>
          </p:cNvPr>
          <p:cNvSpPr/>
          <p:nvPr/>
        </p:nvSpPr>
        <p:spPr>
          <a:xfrm>
            <a:off x="8628932" y="3423086"/>
            <a:ext cx="3563069" cy="3434914"/>
          </a:xfrm>
          <a:custGeom>
            <a:avLst/>
            <a:gdLst>
              <a:gd name="connsiteX0" fmla="*/ 3304216 w 3563069"/>
              <a:gd name="connsiteY0" fmla="*/ 0 h 3434914"/>
              <a:gd name="connsiteX1" fmla="*/ 3563069 w 3563069"/>
              <a:gd name="connsiteY1" fmla="*/ 0 h 3434914"/>
              <a:gd name="connsiteX2" fmla="*/ 3563069 w 3563069"/>
              <a:gd name="connsiteY2" fmla="*/ 974948 h 3434914"/>
              <a:gd name="connsiteX3" fmla="*/ 1196704 w 3563069"/>
              <a:gd name="connsiteY3" fmla="*/ 3434914 h 3434914"/>
              <a:gd name="connsiteX4" fmla="*/ 0 w 3563069"/>
              <a:gd name="connsiteY4" fmla="*/ 3434914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3069" h="3434914">
                <a:moveTo>
                  <a:pt x="3304216" y="0"/>
                </a:moveTo>
                <a:lnTo>
                  <a:pt x="3563069" y="0"/>
                </a:lnTo>
                <a:lnTo>
                  <a:pt x="3563069" y="974948"/>
                </a:lnTo>
                <a:lnTo>
                  <a:pt x="1196704" y="3434914"/>
                </a:lnTo>
                <a:lnTo>
                  <a:pt x="0" y="3434914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Параллелограмм 14">
            <a:extLst>
              <a:ext uri="{FF2B5EF4-FFF2-40B4-BE49-F238E27FC236}">
                <a16:creationId xmlns:a16="http://schemas.microsoft.com/office/drawing/2014/main" id="{31F734ED-68BC-42E0-8B68-128A5E70D998}"/>
              </a:ext>
            </a:extLst>
          </p:cNvPr>
          <p:cNvSpPr/>
          <p:nvPr/>
        </p:nvSpPr>
        <p:spPr>
          <a:xfrm>
            <a:off x="116302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Полилиния: фигура 34">
            <a:extLst>
              <a:ext uri="{FF2B5EF4-FFF2-40B4-BE49-F238E27FC236}">
                <a16:creationId xmlns:a16="http://schemas.microsoft.com/office/drawing/2014/main" id="{9725B0E4-7EE0-4DAD-9228-52E5FF35C598}"/>
              </a:ext>
            </a:extLst>
          </p:cNvPr>
          <p:cNvSpPr/>
          <p:nvPr/>
        </p:nvSpPr>
        <p:spPr>
          <a:xfrm>
            <a:off x="0" y="3423086"/>
            <a:ext cx="3566290" cy="3434914"/>
          </a:xfrm>
          <a:custGeom>
            <a:avLst/>
            <a:gdLst>
              <a:gd name="connsiteX0" fmla="*/ 2369586 w 3566290"/>
              <a:gd name="connsiteY0" fmla="*/ 0 h 3434914"/>
              <a:gd name="connsiteX1" fmla="*/ 3566290 w 3566290"/>
              <a:gd name="connsiteY1" fmla="*/ 0 h 3434914"/>
              <a:gd name="connsiteX2" fmla="*/ 262074 w 3566290"/>
              <a:gd name="connsiteY2" fmla="*/ 3434914 h 3434914"/>
              <a:gd name="connsiteX3" fmla="*/ 0 w 3566290"/>
              <a:gd name="connsiteY3" fmla="*/ 3434914 h 3434914"/>
              <a:gd name="connsiteX4" fmla="*/ 0 w 3566290"/>
              <a:gd name="connsiteY4" fmla="*/ 2463315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6290" h="3434914">
                <a:moveTo>
                  <a:pt x="2369586" y="0"/>
                </a:moveTo>
                <a:lnTo>
                  <a:pt x="3566290" y="0"/>
                </a:lnTo>
                <a:lnTo>
                  <a:pt x="262074" y="3434914"/>
                </a:lnTo>
                <a:lnTo>
                  <a:pt x="0" y="3434914"/>
                </a:lnTo>
                <a:lnTo>
                  <a:pt x="0" y="2463315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Полилиния: фигура 28">
            <a:extLst>
              <a:ext uri="{FF2B5EF4-FFF2-40B4-BE49-F238E27FC236}">
                <a16:creationId xmlns:a16="http://schemas.microsoft.com/office/drawing/2014/main" id="{06D2A420-D43F-40FC-9401-D5154F54DB05}"/>
              </a:ext>
            </a:extLst>
          </p:cNvPr>
          <p:cNvSpPr/>
          <p:nvPr/>
        </p:nvSpPr>
        <p:spPr>
          <a:xfrm>
            <a:off x="1" y="0"/>
            <a:ext cx="3453117" cy="3434914"/>
          </a:xfrm>
          <a:custGeom>
            <a:avLst/>
            <a:gdLst>
              <a:gd name="connsiteX0" fmla="*/ 2256413 w 3453117"/>
              <a:gd name="connsiteY0" fmla="*/ 0 h 3434914"/>
              <a:gd name="connsiteX1" fmla="*/ 3453117 w 3453117"/>
              <a:gd name="connsiteY1" fmla="*/ 0 h 3434914"/>
              <a:gd name="connsiteX2" fmla="*/ 148901 w 3453117"/>
              <a:gd name="connsiteY2" fmla="*/ 3434914 h 3434914"/>
              <a:gd name="connsiteX3" fmla="*/ 0 w 3453117"/>
              <a:gd name="connsiteY3" fmla="*/ 3434914 h 3434914"/>
              <a:gd name="connsiteX4" fmla="*/ 0 w 3453117"/>
              <a:gd name="connsiteY4" fmla="*/ 2345665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3117" h="3434914">
                <a:moveTo>
                  <a:pt x="2256413" y="0"/>
                </a:moveTo>
                <a:lnTo>
                  <a:pt x="3453117" y="0"/>
                </a:lnTo>
                <a:lnTo>
                  <a:pt x="148901" y="3434914"/>
                </a:lnTo>
                <a:lnTo>
                  <a:pt x="0" y="3434914"/>
                </a:lnTo>
                <a:lnTo>
                  <a:pt x="0" y="2345665"/>
                </a:lnTo>
                <a:close/>
              </a:path>
            </a:pathLst>
          </a:cu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Полилиния: фигура 31">
            <a:extLst>
              <a:ext uri="{FF2B5EF4-FFF2-40B4-BE49-F238E27FC236}">
                <a16:creationId xmlns:a16="http://schemas.microsoft.com/office/drawing/2014/main" id="{C2D606E4-CD58-4A76-ADB5-52BB86319F80}"/>
              </a:ext>
            </a:extLst>
          </p:cNvPr>
          <p:cNvSpPr/>
          <p:nvPr/>
        </p:nvSpPr>
        <p:spPr>
          <a:xfrm>
            <a:off x="1" y="3423087"/>
            <a:ext cx="1355463" cy="1409079"/>
          </a:xfrm>
          <a:custGeom>
            <a:avLst/>
            <a:gdLst>
              <a:gd name="connsiteX0" fmla="*/ 158759 w 1355463"/>
              <a:gd name="connsiteY0" fmla="*/ 0 h 1409079"/>
              <a:gd name="connsiteX1" fmla="*/ 1355463 w 1355463"/>
              <a:gd name="connsiteY1" fmla="*/ 0 h 1409079"/>
              <a:gd name="connsiteX2" fmla="*/ 0 w 1355463"/>
              <a:gd name="connsiteY2" fmla="*/ 1409079 h 1409079"/>
              <a:gd name="connsiteX3" fmla="*/ 0 w 1355463"/>
              <a:gd name="connsiteY3" fmla="*/ 165039 h 1409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55463" h="1409079">
                <a:moveTo>
                  <a:pt x="158759" y="0"/>
                </a:moveTo>
                <a:lnTo>
                  <a:pt x="1355463" y="0"/>
                </a:lnTo>
                <a:lnTo>
                  <a:pt x="0" y="1409079"/>
                </a:lnTo>
                <a:lnTo>
                  <a:pt x="0" y="165039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133BE75-A31E-402E-93D1-FF823C1D9D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40" name="Текст 39">
            <a:extLst>
              <a:ext uri="{FF2B5EF4-FFF2-40B4-BE49-F238E27FC236}">
                <a16:creationId xmlns:a16="http://schemas.microsoft.com/office/drawing/2014/main" id="{8F572E13-DCA4-42FB-8A87-2C3147194C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8" y="302719"/>
            <a:ext cx="9272771" cy="135421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26427841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0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62202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едлитель с круговым паттерном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Дуга 18">
            <a:extLst>
              <a:ext uri="{FF2B5EF4-FFF2-40B4-BE49-F238E27FC236}">
                <a16:creationId xmlns:a16="http://schemas.microsoft.com/office/drawing/2014/main" id="{4DB44090-C67B-4CDA-B217-D2DD4B52282E}"/>
              </a:ext>
            </a:extLst>
          </p:cNvPr>
          <p:cNvSpPr/>
          <p:nvPr/>
        </p:nvSpPr>
        <p:spPr bwMode="auto">
          <a:xfrm rot="3600000">
            <a:off x="4181341" y="1527645"/>
            <a:ext cx="3788737" cy="3788737"/>
          </a:xfrm>
          <a:prstGeom prst="arc">
            <a:avLst>
              <a:gd name="adj1" fmla="val 12535448"/>
              <a:gd name="adj2" fmla="val 5738127"/>
            </a:avLst>
          </a:prstGeom>
          <a:noFill/>
          <a:ln w="952500" cap="flat" cmpd="sng" algn="ctr"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Дуга 20">
            <a:extLst>
              <a:ext uri="{FF2B5EF4-FFF2-40B4-BE49-F238E27FC236}">
                <a16:creationId xmlns:a16="http://schemas.microsoft.com/office/drawing/2014/main" id="{DDABABAE-C084-488B-AB1F-4807DD67106D}"/>
              </a:ext>
            </a:extLst>
          </p:cNvPr>
          <p:cNvSpPr/>
          <p:nvPr/>
        </p:nvSpPr>
        <p:spPr bwMode="auto">
          <a:xfrm rot="3600000">
            <a:off x="3263679" y="596679"/>
            <a:ext cx="5664641" cy="5664641"/>
          </a:xfrm>
          <a:prstGeom prst="arc">
            <a:avLst>
              <a:gd name="adj1" fmla="val 7600294"/>
              <a:gd name="adj2" fmla="val 18090487"/>
            </a:avLst>
          </a:prstGeom>
          <a:noFill/>
          <a:ln w="952500" cap="flat" cmpd="sng" algn="ctr">
            <a:gradFill>
              <a:gsLst>
                <a:gs pos="100000">
                  <a:schemeClr val="accent2"/>
                </a:gs>
                <a:gs pos="14000">
                  <a:schemeClr val="accent2">
                    <a:lumMod val="7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Дуга 21">
            <a:extLst>
              <a:ext uri="{FF2B5EF4-FFF2-40B4-BE49-F238E27FC236}">
                <a16:creationId xmlns:a16="http://schemas.microsoft.com/office/drawing/2014/main" id="{E806DCA9-2C88-42F3-8A16-28C6BB63EFCA}"/>
              </a:ext>
            </a:extLst>
          </p:cNvPr>
          <p:cNvSpPr/>
          <p:nvPr/>
        </p:nvSpPr>
        <p:spPr bwMode="auto">
          <a:xfrm rot="3600000">
            <a:off x="2308029" y="-358971"/>
            <a:ext cx="7575942" cy="7575942"/>
          </a:xfrm>
          <a:prstGeom prst="arc">
            <a:avLst>
              <a:gd name="adj1" fmla="val 13279509"/>
              <a:gd name="adj2" fmla="val 21424019"/>
            </a:avLst>
          </a:prstGeom>
          <a:noFill/>
          <a:ln w="952500" cap="flat" cmpd="sng" algn="ctr">
            <a:gradFill>
              <a:gsLst>
                <a:gs pos="4500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Дуга 23">
            <a:extLst>
              <a:ext uri="{FF2B5EF4-FFF2-40B4-BE49-F238E27FC236}">
                <a16:creationId xmlns:a16="http://schemas.microsoft.com/office/drawing/2014/main" id="{C6B33325-73A3-424F-A577-F5C1CF382099}"/>
              </a:ext>
            </a:extLst>
          </p:cNvPr>
          <p:cNvSpPr/>
          <p:nvPr/>
        </p:nvSpPr>
        <p:spPr bwMode="auto">
          <a:xfrm rot="3600000">
            <a:off x="412319" y="-2254679"/>
            <a:ext cx="11367362" cy="11367360"/>
          </a:xfrm>
          <a:prstGeom prst="arc">
            <a:avLst>
              <a:gd name="adj1" fmla="val 4640343"/>
              <a:gd name="adj2" fmla="val 8874283"/>
            </a:avLst>
          </a:prstGeom>
          <a:noFill/>
          <a:ln w="952500" cap="flat" cmpd="sng" algn="ctr">
            <a:gradFill>
              <a:gsLst>
                <a:gs pos="100000">
                  <a:schemeClr val="accent2"/>
                </a:gs>
                <a:gs pos="0">
                  <a:schemeClr val="accent2">
                    <a:lumMod val="75000"/>
                  </a:schemeClr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Дуга 24">
            <a:extLst>
              <a:ext uri="{FF2B5EF4-FFF2-40B4-BE49-F238E27FC236}">
                <a16:creationId xmlns:a16="http://schemas.microsoft.com/office/drawing/2014/main" id="{2A932059-F943-480E-BA02-956B34060D1A}"/>
              </a:ext>
            </a:extLst>
          </p:cNvPr>
          <p:cNvSpPr/>
          <p:nvPr/>
        </p:nvSpPr>
        <p:spPr bwMode="auto">
          <a:xfrm rot="3600000">
            <a:off x="1337742" y="-1329258"/>
            <a:ext cx="9516517" cy="9516517"/>
          </a:xfrm>
          <a:prstGeom prst="arc">
            <a:avLst>
              <a:gd name="adj1" fmla="val 2616407"/>
              <a:gd name="adj2" fmla="val 12612573"/>
            </a:avLst>
          </a:prstGeom>
          <a:noFill/>
          <a:ln w="9525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Дуга 26">
            <a:extLst>
              <a:ext uri="{FF2B5EF4-FFF2-40B4-BE49-F238E27FC236}">
                <a16:creationId xmlns:a16="http://schemas.microsoft.com/office/drawing/2014/main" id="{259E656F-7DF7-4302-83B1-89FF45131507}"/>
              </a:ext>
            </a:extLst>
          </p:cNvPr>
          <p:cNvSpPr/>
          <p:nvPr userDrawn="1"/>
        </p:nvSpPr>
        <p:spPr bwMode="auto">
          <a:xfrm rot="3600000">
            <a:off x="-590550" y="-3257550"/>
            <a:ext cx="13373100" cy="13373100"/>
          </a:xfrm>
          <a:prstGeom prst="arc">
            <a:avLst>
              <a:gd name="adj1" fmla="val 9878533"/>
              <a:gd name="adj2" fmla="val 20724111"/>
            </a:avLst>
          </a:prstGeom>
          <a:noFill/>
          <a:ln w="9525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0" name="Текст 39">
            <a:extLst>
              <a:ext uri="{FF2B5EF4-FFF2-40B4-BE49-F238E27FC236}">
                <a16:creationId xmlns:a16="http://schemas.microsoft.com/office/drawing/2014/main" id="{8F572E13-DCA4-42FB-8A87-2C3147194C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8" y="302719"/>
            <a:ext cx="9272771" cy="135421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133BE75-A31E-402E-93D1-FF823C1D9D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4402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права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6120" y="0"/>
            <a:ext cx="5015880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8651D85-208E-4EFB-B852-FE9A38347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6127751" cy="29796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D3C38CB1-3CDA-4BA0-A85D-19817FD273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01406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95900" y="1089024"/>
            <a:ext cx="658811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695607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 фото люд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94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7315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5" name="Рисунок 13">
            <a:extLst>
              <a:ext uri="{FF2B5EF4-FFF2-40B4-BE49-F238E27FC236}">
                <a16:creationId xmlns:a16="http://schemas.microsoft.com/office/drawing/2014/main" id="{6C2AC61C-9155-4028-9355-CBD9F23FE7D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7315" y="336730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6" name="Рисунок 13">
            <a:extLst>
              <a:ext uri="{FF2B5EF4-FFF2-40B4-BE49-F238E27FC236}">
                <a16:creationId xmlns:a16="http://schemas.microsoft.com/office/drawing/2014/main" id="{B6110899-C7C2-42CA-A239-960D1209AB4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7315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7" name="Рисунок 13">
            <a:extLst>
              <a:ext uri="{FF2B5EF4-FFF2-40B4-BE49-F238E27FC236}">
                <a16:creationId xmlns:a16="http://schemas.microsoft.com/office/drawing/2014/main" id="{844FBDB0-EFD0-4412-895B-27E429D2D7A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00846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8" name="Рисунок 13">
            <a:extLst>
              <a:ext uri="{FF2B5EF4-FFF2-40B4-BE49-F238E27FC236}">
                <a16:creationId xmlns:a16="http://schemas.microsoft.com/office/drawing/2014/main" id="{35B74EFC-C54B-498B-B91A-1B65939C84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39188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9" name="Рисунок 13">
            <a:extLst>
              <a:ext uri="{FF2B5EF4-FFF2-40B4-BE49-F238E27FC236}">
                <a16:creationId xmlns:a16="http://schemas.microsoft.com/office/drawing/2014/main" id="{C97F030B-7237-4B1E-AC59-451930CFC3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0846" y="336730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0" name="Рисунок 13">
            <a:extLst>
              <a:ext uri="{FF2B5EF4-FFF2-40B4-BE49-F238E27FC236}">
                <a16:creationId xmlns:a16="http://schemas.microsoft.com/office/drawing/2014/main" id="{9AE7D753-D524-4E9F-B522-7389A8E773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39188" y="336037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1" name="Рисунок 13">
            <a:extLst>
              <a:ext uri="{FF2B5EF4-FFF2-40B4-BE49-F238E27FC236}">
                <a16:creationId xmlns:a16="http://schemas.microsoft.com/office/drawing/2014/main" id="{0DB976B9-B6F2-4400-A08E-0524A79AD7D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00846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2" name="Рисунок 13">
            <a:extLst>
              <a:ext uri="{FF2B5EF4-FFF2-40B4-BE49-F238E27FC236}">
                <a16:creationId xmlns:a16="http://schemas.microsoft.com/office/drawing/2014/main" id="{3A1C151D-DFF9-4DBF-9292-AEF08CD0A5A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39188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F413EDC3-64DD-4902-8C7B-069794252BB7}"/>
              </a:ext>
            </a:extLst>
          </p:cNvPr>
          <p:cNvGrpSpPr/>
          <p:nvPr userDrawn="1"/>
        </p:nvGrpSpPr>
        <p:grpSpPr>
          <a:xfrm>
            <a:off x="341641" y="1264335"/>
            <a:ext cx="1266256" cy="1266256"/>
            <a:chOff x="420388" y="1500299"/>
            <a:chExt cx="1266256" cy="1266256"/>
          </a:xfrm>
        </p:grpSpPr>
        <p:sp>
          <p:nvSpPr>
            <p:cNvPr id="42" name="Дуга 41">
              <a:extLst>
                <a:ext uri="{FF2B5EF4-FFF2-40B4-BE49-F238E27FC236}">
                  <a16:creationId xmlns:a16="http://schemas.microsoft.com/office/drawing/2014/main" id="{17EFA7A7-0C69-45B8-B85B-68B84D6BC1DC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9659496"/>
                <a:gd name="adj2" fmla="val 19981589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9" name="Дуга 48">
              <a:extLst>
                <a:ext uri="{FF2B5EF4-FFF2-40B4-BE49-F238E27FC236}">
                  <a16:creationId xmlns:a16="http://schemas.microsoft.com/office/drawing/2014/main" id="{8F24C6DF-7323-4949-AD1F-6857628D22E3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19044641"/>
                <a:gd name="adj2" fmla="val 8069024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0" name="Дуга 49">
              <a:extLst>
                <a:ext uri="{FF2B5EF4-FFF2-40B4-BE49-F238E27FC236}">
                  <a16:creationId xmlns:a16="http://schemas.microsoft.com/office/drawing/2014/main" id="{C3EC0ED3-E33C-4E12-A970-BD873393ED52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1215534"/>
                <a:gd name="adj2" fmla="val 275615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45F3A767-1E29-44F6-95D2-6EE827986E36}"/>
              </a:ext>
            </a:extLst>
          </p:cNvPr>
          <p:cNvGrpSpPr/>
          <p:nvPr userDrawn="1"/>
        </p:nvGrpSpPr>
        <p:grpSpPr>
          <a:xfrm>
            <a:off x="4075172" y="1264335"/>
            <a:ext cx="1266256" cy="1266256"/>
            <a:chOff x="420388" y="1500299"/>
            <a:chExt cx="1266256" cy="1266256"/>
          </a:xfrm>
        </p:grpSpPr>
        <p:sp>
          <p:nvSpPr>
            <p:cNvPr id="53" name="Дуга 52">
              <a:extLst>
                <a:ext uri="{FF2B5EF4-FFF2-40B4-BE49-F238E27FC236}">
                  <a16:creationId xmlns:a16="http://schemas.microsoft.com/office/drawing/2014/main" id="{45E626D3-FB35-4CB9-BFF6-7E2BAB7E316F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9659496"/>
                <a:gd name="adj2" fmla="val 19981589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4" name="Дуга 53">
              <a:extLst>
                <a:ext uri="{FF2B5EF4-FFF2-40B4-BE49-F238E27FC236}">
                  <a16:creationId xmlns:a16="http://schemas.microsoft.com/office/drawing/2014/main" id="{446CFCD8-300F-4513-8D14-8C7044A8FC63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19044641"/>
                <a:gd name="adj2" fmla="val 8069024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5" name="Дуга 54">
              <a:extLst>
                <a:ext uri="{FF2B5EF4-FFF2-40B4-BE49-F238E27FC236}">
                  <a16:creationId xmlns:a16="http://schemas.microsoft.com/office/drawing/2014/main" id="{0E9C807F-F0F3-46F9-8DA9-92EB09F6C182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1215534"/>
                <a:gd name="adj2" fmla="val 275615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F3C75F44-1A61-48B9-80FB-9B46252B7099}"/>
              </a:ext>
            </a:extLst>
          </p:cNvPr>
          <p:cNvGrpSpPr/>
          <p:nvPr userDrawn="1"/>
        </p:nvGrpSpPr>
        <p:grpSpPr>
          <a:xfrm>
            <a:off x="7808703" y="1264335"/>
            <a:ext cx="1266256" cy="1266256"/>
            <a:chOff x="420388" y="1500299"/>
            <a:chExt cx="1266256" cy="1266256"/>
          </a:xfrm>
        </p:grpSpPr>
        <p:sp>
          <p:nvSpPr>
            <p:cNvPr id="57" name="Дуга 56">
              <a:extLst>
                <a:ext uri="{FF2B5EF4-FFF2-40B4-BE49-F238E27FC236}">
                  <a16:creationId xmlns:a16="http://schemas.microsoft.com/office/drawing/2014/main" id="{68495857-EB89-43EF-86AB-E3F2D8C4999B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9659496"/>
                <a:gd name="adj2" fmla="val 19981589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8" name="Дуга 57">
              <a:extLst>
                <a:ext uri="{FF2B5EF4-FFF2-40B4-BE49-F238E27FC236}">
                  <a16:creationId xmlns:a16="http://schemas.microsoft.com/office/drawing/2014/main" id="{B04D0F66-9C83-44C6-90FE-23C0D4E7BA33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19044641"/>
                <a:gd name="adj2" fmla="val 8069024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9" name="Дуга 58">
              <a:extLst>
                <a:ext uri="{FF2B5EF4-FFF2-40B4-BE49-F238E27FC236}">
                  <a16:creationId xmlns:a16="http://schemas.microsoft.com/office/drawing/2014/main" id="{F29E88E8-DAB7-4558-8226-A2E9B104712B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1215534"/>
                <a:gd name="adj2" fmla="val 275615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id="{C424AA98-0D2D-4729-87FB-C6948F9D35C1}"/>
              </a:ext>
            </a:extLst>
          </p:cNvPr>
          <p:cNvGrpSpPr/>
          <p:nvPr userDrawn="1"/>
        </p:nvGrpSpPr>
        <p:grpSpPr>
          <a:xfrm>
            <a:off x="341641" y="3141626"/>
            <a:ext cx="1266256" cy="1266256"/>
            <a:chOff x="420388" y="1500299"/>
            <a:chExt cx="1266256" cy="1266256"/>
          </a:xfrm>
        </p:grpSpPr>
        <p:sp>
          <p:nvSpPr>
            <p:cNvPr id="103" name="Дуга 102">
              <a:extLst>
                <a:ext uri="{FF2B5EF4-FFF2-40B4-BE49-F238E27FC236}">
                  <a16:creationId xmlns:a16="http://schemas.microsoft.com/office/drawing/2014/main" id="{27C57461-F469-4FCA-B03C-290F8F7BE840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3479549"/>
                <a:gd name="adj2" fmla="val 16330110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4" name="Дуга 103">
              <a:extLst>
                <a:ext uri="{FF2B5EF4-FFF2-40B4-BE49-F238E27FC236}">
                  <a16:creationId xmlns:a16="http://schemas.microsoft.com/office/drawing/2014/main" id="{5E0E103C-1A74-4FD8-9C43-4A2767F7DDE1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1864941"/>
                <a:gd name="adj2" fmla="val 11656040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5" name="Дуга 104">
              <a:extLst>
                <a:ext uri="{FF2B5EF4-FFF2-40B4-BE49-F238E27FC236}">
                  <a16:creationId xmlns:a16="http://schemas.microsoft.com/office/drawing/2014/main" id="{B64D4A2C-B73E-4005-BD89-EC8555B41BE4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1215534"/>
                <a:gd name="adj2" fmla="val 275615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06" name="Группа 105">
            <a:extLst>
              <a:ext uri="{FF2B5EF4-FFF2-40B4-BE49-F238E27FC236}">
                <a16:creationId xmlns:a16="http://schemas.microsoft.com/office/drawing/2014/main" id="{27105FEF-C367-433E-A178-287ECFEDC465}"/>
              </a:ext>
            </a:extLst>
          </p:cNvPr>
          <p:cNvGrpSpPr/>
          <p:nvPr userDrawn="1"/>
        </p:nvGrpSpPr>
        <p:grpSpPr>
          <a:xfrm>
            <a:off x="4075172" y="3141626"/>
            <a:ext cx="1266256" cy="1266256"/>
            <a:chOff x="420388" y="1500299"/>
            <a:chExt cx="1266256" cy="1266256"/>
          </a:xfrm>
        </p:grpSpPr>
        <p:sp>
          <p:nvSpPr>
            <p:cNvPr id="107" name="Дуга 106">
              <a:extLst>
                <a:ext uri="{FF2B5EF4-FFF2-40B4-BE49-F238E27FC236}">
                  <a16:creationId xmlns:a16="http://schemas.microsoft.com/office/drawing/2014/main" id="{BE352B6A-6A1F-41E3-9563-58E8B85C3FE1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3479549"/>
                <a:gd name="adj2" fmla="val 16330110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8" name="Дуга 107">
              <a:extLst>
                <a:ext uri="{FF2B5EF4-FFF2-40B4-BE49-F238E27FC236}">
                  <a16:creationId xmlns:a16="http://schemas.microsoft.com/office/drawing/2014/main" id="{DE3FC914-0D37-47DE-B478-905A64550ECB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1864941"/>
                <a:gd name="adj2" fmla="val 11656040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9" name="Дуга 108">
              <a:extLst>
                <a:ext uri="{FF2B5EF4-FFF2-40B4-BE49-F238E27FC236}">
                  <a16:creationId xmlns:a16="http://schemas.microsoft.com/office/drawing/2014/main" id="{CD778CED-0683-41F7-8FE1-BF8F1BD176A4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1215534"/>
                <a:gd name="adj2" fmla="val 275615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80463AAC-291E-4DB1-B211-A65B8D4E73CB}"/>
              </a:ext>
            </a:extLst>
          </p:cNvPr>
          <p:cNvGrpSpPr/>
          <p:nvPr userDrawn="1"/>
        </p:nvGrpSpPr>
        <p:grpSpPr>
          <a:xfrm>
            <a:off x="7808703" y="3141626"/>
            <a:ext cx="1266256" cy="1266256"/>
            <a:chOff x="420388" y="1500299"/>
            <a:chExt cx="1266256" cy="1266256"/>
          </a:xfrm>
        </p:grpSpPr>
        <p:sp>
          <p:nvSpPr>
            <p:cNvPr id="111" name="Дуга 110">
              <a:extLst>
                <a:ext uri="{FF2B5EF4-FFF2-40B4-BE49-F238E27FC236}">
                  <a16:creationId xmlns:a16="http://schemas.microsoft.com/office/drawing/2014/main" id="{351ED7C9-3FA1-4D31-9E10-0AE41C492621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3479549"/>
                <a:gd name="adj2" fmla="val 16330110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12" name="Дуга 111">
              <a:extLst>
                <a:ext uri="{FF2B5EF4-FFF2-40B4-BE49-F238E27FC236}">
                  <a16:creationId xmlns:a16="http://schemas.microsoft.com/office/drawing/2014/main" id="{DE1EB6BE-80C8-486C-9D62-B3EFDB782896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1864941"/>
                <a:gd name="adj2" fmla="val 11656040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13" name="Дуга 112">
              <a:extLst>
                <a:ext uri="{FF2B5EF4-FFF2-40B4-BE49-F238E27FC236}">
                  <a16:creationId xmlns:a16="http://schemas.microsoft.com/office/drawing/2014/main" id="{C3847EFE-8E00-49D6-9251-F83ACD6826E1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1215534"/>
                <a:gd name="adj2" fmla="val 275615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0F9195E0-B5A7-4F18-B9DB-F3BD718E1E55}"/>
              </a:ext>
            </a:extLst>
          </p:cNvPr>
          <p:cNvGrpSpPr/>
          <p:nvPr userDrawn="1"/>
        </p:nvGrpSpPr>
        <p:grpSpPr>
          <a:xfrm>
            <a:off x="341641" y="5018916"/>
            <a:ext cx="1266256" cy="1266256"/>
            <a:chOff x="420388" y="1500299"/>
            <a:chExt cx="1266256" cy="1266256"/>
          </a:xfrm>
        </p:grpSpPr>
        <p:sp>
          <p:nvSpPr>
            <p:cNvPr id="115" name="Дуга 114">
              <a:extLst>
                <a:ext uri="{FF2B5EF4-FFF2-40B4-BE49-F238E27FC236}">
                  <a16:creationId xmlns:a16="http://schemas.microsoft.com/office/drawing/2014/main" id="{C3EAEC1A-B813-4B3F-81D4-D1A059981864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5532791"/>
                <a:gd name="adj2" fmla="val 16330110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16" name="Дуга 115">
              <a:extLst>
                <a:ext uri="{FF2B5EF4-FFF2-40B4-BE49-F238E27FC236}">
                  <a16:creationId xmlns:a16="http://schemas.microsoft.com/office/drawing/2014/main" id="{0EEFC1E2-874F-479B-B65C-B0C579F99CF9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8863225"/>
                <a:gd name="adj2" fmla="val 1767942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17" name="Дуга 116">
              <a:extLst>
                <a:ext uri="{FF2B5EF4-FFF2-40B4-BE49-F238E27FC236}">
                  <a16:creationId xmlns:a16="http://schemas.microsoft.com/office/drawing/2014/main" id="{F8C6A0E7-E262-498F-93F5-576D175B650A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9889921"/>
                <a:gd name="adj2" fmla="val 1000216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2365A7F7-6CB2-413E-98A5-4E92EF897F79}"/>
              </a:ext>
            </a:extLst>
          </p:cNvPr>
          <p:cNvGrpSpPr/>
          <p:nvPr userDrawn="1"/>
        </p:nvGrpSpPr>
        <p:grpSpPr>
          <a:xfrm>
            <a:off x="4075172" y="5018916"/>
            <a:ext cx="1266256" cy="1266256"/>
            <a:chOff x="420388" y="1500299"/>
            <a:chExt cx="1266256" cy="1266256"/>
          </a:xfrm>
        </p:grpSpPr>
        <p:sp>
          <p:nvSpPr>
            <p:cNvPr id="119" name="Дуга 118">
              <a:extLst>
                <a:ext uri="{FF2B5EF4-FFF2-40B4-BE49-F238E27FC236}">
                  <a16:creationId xmlns:a16="http://schemas.microsoft.com/office/drawing/2014/main" id="{193A21F2-C89E-41EE-ADC6-7EDEBF451A5D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5532791"/>
                <a:gd name="adj2" fmla="val 16330110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0" name="Дуга 119">
              <a:extLst>
                <a:ext uri="{FF2B5EF4-FFF2-40B4-BE49-F238E27FC236}">
                  <a16:creationId xmlns:a16="http://schemas.microsoft.com/office/drawing/2014/main" id="{D43F6890-FECC-4F48-8880-AC3BBF1A63B8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8863225"/>
                <a:gd name="adj2" fmla="val 1767942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1" name="Дуга 120">
              <a:extLst>
                <a:ext uri="{FF2B5EF4-FFF2-40B4-BE49-F238E27FC236}">
                  <a16:creationId xmlns:a16="http://schemas.microsoft.com/office/drawing/2014/main" id="{E56B88D5-175C-4933-9F74-DB9EE1DC145D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9889921"/>
                <a:gd name="adj2" fmla="val 1000216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22" name="Группа 121">
            <a:extLst>
              <a:ext uri="{FF2B5EF4-FFF2-40B4-BE49-F238E27FC236}">
                <a16:creationId xmlns:a16="http://schemas.microsoft.com/office/drawing/2014/main" id="{B5141DB8-E3BA-4307-B6DB-CF50C0DCBBEA}"/>
              </a:ext>
            </a:extLst>
          </p:cNvPr>
          <p:cNvGrpSpPr/>
          <p:nvPr userDrawn="1"/>
        </p:nvGrpSpPr>
        <p:grpSpPr>
          <a:xfrm>
            <a:off x="7808703" y="5018916"/>
            <a:ext cx="1266256" cy="1266256"/>
            <a:chOff x="420388" y="1500299"/>
            <a:chExt cx="1266256" cy="1266256"/>
          </a:xfrm>
        </p:grpSpPr>
        <p:sp>
          <p:nvSpPr>
            <p:cNvPr id="123" name="Дуга 122">
              <a:extLst>
                <a:ext uri="{FF2B5EF4-FFF2-40B4-BE49-F238E27FC236}">
                  <a16:creationId xmlns:a16="http://schemas.microsoft.com/office/drawing/2014/main" id="{583B07EB-7537-4D1B-9670-C8D8CFAC031A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5532791"/>
                <a:gd name="adj2" fmla="val 16330110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4" name="Дуга 123">
              <a:extLst>
                <a:ext uri="{FF2B5EF4-FFF2-40B4-BE49-F238E27FC236}">
                  <a16:creationId xmlns:a16="http://schemas.microsoft.com/office/drawing/2014/main" id="{B0973C0A-6EB8-44C3-99B0-16EA9D944F90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8863225"/>
                <a:gd name="adj2" fmla="val 1767942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5" name="Дуга 124">
              <a:extLst>
                <a:ext uri="{FF2B5EF4-FFF2-40B4-BE49-F238E27FC236}">
                  <a16:creationId xmlns:a16="http://schemas.microsoft.com/office/drawing/2014/main" id="{9F2F3D3C-88FB-4F78-B2E7-8E28AEFA60C1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9889921"/>
                <a:gd name="adj2" fmla="val 1000216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61" name="Slide Number Placeholder 7">
            <a:extLst>
              <a:ext uri="{FF2B5EF4-FFF2-40B4-BE49-F238E27FC236}">
                <a16:creationId xmlns:a16="http://schemas.microsoft.com/office/drawing/2014/main" id="{E0865DC9-48E3-4E85-A2FB-8283BE80B94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2" name="Текст 3">
            <a:extLst>
              <a:ext uri="{FF2B5EF4-FFF2-40B4-BE49-F238E27FC236}">
                <a16:creationId xmlns:a16="http://schemas.microsoft.com/office/drawing/2014/main" id="{7CC3F587-9F30-4C41-8421-8E9EACA2F7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08532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фото люд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D52B4510-A1CC-42EE-B09C-0759EE3ECF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04865" y="1489325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Рисунок 13">
            <a:extLst>
              <a:ext uri="{FF2B5EF4-FFF2-40B4-BE49-F238E27FC236}">
                <a16:creationId xmlns:a16="http://schemas.microsoft.com/office/drawing/2014/main" id="{8553449B-AA81-4002-BFC2-849CE638866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204865" y="332059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Рисунок 13">
            <a:extLst>
              <a:ext uri="{FF2B5EF4-FFF2-40B4-BE49-F238E27FC236}">
                <a16:creationId xmlns:a16="http://schemas.microsoft.com/office/drawing/2014/main" id="{249A119C-6FEE-4BEB-A43E-6DD39C2366F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04865" y="5203844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59234B06-0350-4A5C-B591-A68B7C9C03E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45976" y="1489325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5" name="Рисунок 13">
            <a:extLst>
              <a:ext uri="{FF2B5EF4-FFF2-40B4-BE49-F238E27FC236}">
                <a16:creationId xmlns:a16="http://schemas.microsoft.com/office/drawing/2014/main" id="{419C62D1-466E-4A75-A20F-F4281A82C61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5976" y="332059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Рисунок 13">
            <a:extLst>
              <a:ext uri="{FF2B5EF4-FFF2-40B4-BE49-F238E27FC236}">
                <a16:creationId xmlns:a16="http://schemas.microsoft.com/office/drawing/2014/main" id="{84FF0057-290A-4001-9DD8-3012BAD9E07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45976" y="5203844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50393A75-BE1E-475C-B160-7BC025B361F9}"/>
              </a:ext>
            </a:extLst>
          </p:cNvPr>
          <p:cNvGrpSpPr/>
          <p:nvPr userDrawn="1"/>
        </p:nvGrpSpPr>
        <p:grpSpPr>
          <a:xfrm>
            <a:off x="946877" y="4945856"/>
            <a:ext cx="1412376" cy="1412376"/>
            <a:chOff x="946877" y="4945856"/>
            <a:chExt cx="1412376" cy="1412376"/>
          </a:xfrm>
        </p:grpSpPr>
        <p:sp>
          <p:nvSpPr>
            <p:cNvPr id="34" name="Дуга 33">
              <a:extLst>
                <a:ext uri="{FF2B5EF4-FFF2-40B4-BE49-F238E27FC236}">
                  <a16:creationId xmlns:a16="http://schemas.microsoft.com/office/drawing/2014/main" id="{6E417670-49B2-42DD-B3E8-0185EFC1C306}"/>
                </a:ext>
              </a:extLst>
            </p:cNvPr>
            <p:cNvSpPr/>
            <p:nvPr/>
          </p:nvSpPr>
          <p:spPr bwMode="auto">
            <a:xfrm>
              <a:off x="1048624" y="5047603"/>
              <a:ext cx="1208881" cy="1208881"/>
            </a:xfrm>
            <a:prstGeom prst="arc">
              <a:avLst>
                <a:gd name="adj1" fmla="val 10694836"/>
                <a:gd name="adj2" fmla="val 19218249"/>
              </a:avLst>
            </a:prstGeom>
            <a:noFill/>
            <a:ln w="1016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5" name="Дуга 34">
              <a:extLst>
                <a:ext uri="{FF2B5EF4-FFF2-40B4-BE49-F238E27FC236}">
                  <a16:creationId xmlns:a16="http://schemas.microsoft.com/office/drawing/2014/main" id="{71F25056-7CC5-4804-AFA5-18AFDB5C8875}"/>
                </a:ext>
              </a:extLst>
            </p:cNvPr>
            <p:cNvSpPr/>
            <p:nvPr/>
          </p:nvSpPr>
          <p:spPr bwMode="auto">
            <a:xfrm>
              <a:off x="1149058" y="5148035"/>
              <a:ext cx="1008017" cy="1008017"/>
            </a:xfrm>
            <a:prstGeom prst="arc">
              <a:avLst>
                <a:gd name="adj1" fmla="val 5793406"/>
                <a:gd name="adj2" fmla="val 13342931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6" name="Дуга 35">
              <a:extLst>
                <a:ext uri="{FF2B5EF4-FFF2-40B4-BE49-F238E27FC236}">
                  <a16:creationId xmlns:a16="http://schemas.microsoft.com/office/drawing/2014/main" id="{3A4DA8D7-8B7A-4786-8CDD-8C9ECA969AEB}"/>
                </a:ext>
              </a:extLst>
            </p:cNvPr>
            <p:cNvSpPr/>
            <p:nvPr/>
          </p:nvSpPr>
          <p:spPr bwMode="auto">
            <a:xfrm>
              <a:off x="946877" y="4945856"/>
              <a:ext cx="1412376" cy="1412376"/>
            </a:xfrm>
            <a:prstGeom prst="arc">
              <a:avLst>
                <a:gd name="adj1" fmla="val 14859089"/>
                <a:gd name="adj2" fmla="val 2867265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000BD7B4-223D-4C2C-B529-D5E596800136}"/>
              </a:ext>
            </a:extLst>
          </p:cNvPr>
          <p:cNvGrpSpPr/>
          <p:nvPr userDrawn="1"/>
        </p:nvGrpSpPr>
        <p:grpSpPr>
          <a:xfrm>
            <a:off x="946877" y="3062610"/>
            <a:ext cx="1412376" cy="1412376"/>
            <a:chOff x="946877" y="4945856"/>
            <a:chExt cx="1412376" cy="1412376"/>
          </a:xfrm>
        </p:grpSpPr>
        <p:sp>
          <p:nvSpPr>
            <p:cNvPr id="42" name="Дуга 41">
              <a:extLst>
                <a:ext uri="{FF2B5EF4-FFF2-40B4-BE49-F238E27FC236}">
                  <a16:creationId xmlns:a16="http://schemas.microsoft.com/office/drawing/2014/main" id="{D8294D4C-5D89-4BE1-BCD6-3DAF53649F48}"/>
                </a:ext>
              </a:extLst>
            </p:cNvPr>
            <p:cNvSpPr/>
            <p:nvPr/>
          </p:nvSpPr>
          <p:spPr bwMode="auto">
            <a:xfrm>
              <a:off x="1048624" y="5047603"/>
              <a:ext cx="1208881" cy="1208881"/>
            </a:xfrm>
            <a:prstGeom prst="arc">
              <a:avLst>
                <a:gd name="adj1" fmla="val 10694836"/>
                <a:gd name="adj2" fmla="val 19218249"/>
              </a:avLst>
            </a:prstGeom>
            <a:noFill/>
            <a:ln w="1016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3" name="Дуга 42">
              <a:extLst>
                <a:ext uri="{FF2B5EF4-FFF2-40B4-BE49-F238E27FC236}">
                  <a16:creationId xmlns:a16="http://schemas.microsoft.com/office/drawing/2014/main" id="{FE738D16-9B23-4549-9AE5-47BD77E597A5}"/>
                </a:ext>
              </a:extLst>
            </p:cNvPr>
            <p:cNvSpPr/>
            <p:nvPr/>
          </p:nvSpPr>
          <p:spPr bwMode="auto">
            <a:xfrm>
              <a:off x="1149058" y="5148035"/>
              <a:ext cx="1008017" cy="1008017"/>
            </a:xfrm>
            <a:prstGeom prst="arc">
              <a:avLst>
                <a:gd name="adj1" fmla="val 5793406"/>
                <a:gd name="adj2" fmla="val 13342931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4" name="Дуга 43">
              <a:extLst>
                <a:ext uri="{FF2B5EF4-FFF2-40B4-BE49-F238E27FC236}">
                  <a16:creationId xmlns:a16="http://schemas.microsoft.com/office/drawing/2014/main" id="{494DFFCD-E660-4D13-8F09-074AD8E7FB3B}"/>
                </a:ext>
              </a:extLst>
            </p:cNvPr>
            <p:cNvSpPr/>
            <p:nvPr/>
          </p:nvSpPr>
          <p:spPr bwMode="auto">
            <a:xfrm>
              <a:off x="946877" y="4945856"/>
              <a:ext cx="1412376" cy="1412376"/>
            </a:xfrm>
            <a:prstGeom prst="arc">
              <a:avLst>
                <a:gd name="adj1" fmla="val 14859089"/>
                <a:gd name="adj2" fmla="val 2867265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A7353ED6-A574-4685-8B3D-6F97E0DE01A7}"/>
              </a:ext>
            </a:extLst>
          </p:cNvPr>
          <p:cNvGrpSpPr/>
          <p:nvPr userDrawn="1"/>
        </p:nvGrpSpPr>
        <p:grpSpPr>
          <a:xfrm>
            <a:off x="946877" y="1231337"/>
            <a:ext cx="1412376" cy="1412376"/>
            <a:chOff x="946877" y="4945856"/>
            <a:chExt cx="1412376" cy="1412376"/>
          </a:xfrm>
        </p:grpSpPr>
        <p:sp>
          <p:nvSpPr>
            <p:cNvPr id="46" name="Дуга 45">
              <a:extLst>
                <a:ext uri="{FF2B5EF4-FFF2-40B4-BE49-F238E27FC236}">
                  <a16:creationId xmlns:a16="http://schemas.microsoft.com/office/drawing/2014/main" id="{B14ADAE6-5A81-4057-9445-1F9D67E7BBD0}"/>
                </a:ext>
              </a:extLst>
            </p:cNvPr>
            <p:cNvSpPr/>
            <p:nvPr/>
          </p:nvSpPr>
          <p:spPr bwMode="auto">
            <a:xfrm>
              <a:off x="1048624" y="5047603"/>
              <a:ext cx="1208881" cy="1208881"/>
            </a:xfrm>
            <a:prstGeom prst="arc">
              <a:avLst>
                <a:gd name="adj1" fmla="val 10694836"/>
                <a:gd name="adj2" fmla="val 19218249"/>
              </a:avLst>
            </a:prstGeom>
            <a:noFill/>
            <a:ln w="1016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7" name="Дуга 46">
              <a:extLst>
                <a:ext uri="{FF2B5EF4-FFF2-40B4-BE49-F238E27FC236}">
                  <a16:creationId xmlns:a16="http://schemas.microsoft.com/office/drawing/2014/main" id="{6671B1EE-CFCD-4BE5-94A4-14F825ECC6D0}"/>
                </a:ext>
              </a:extLst>
            </p:cNvPr>
            <p:cNvSpPr/>
            <p:nvPr/>
          </p:nvSpPr>
          <p:spPr bwMode="auto">
            <a:xfrm>
              <a:off x="1149058" y="5148035"/>
              <a:ext cx="1008017" cy="1008017"/>
            </a:xfrm>
            <a:prstGeom prst="arc">
              <a:avLst>
                <a:gd name="adj1" fmla="val 5793406"/>
                <a:gd name="adj2" fmla="val 13342931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8" name="Дуга 47">
              <a:extLst>
                <a:ext uri="{FF2B5EF4-FFF2-40B4-BE49-F238E27FC236}">
                  <a16:creationId xmlns:a16="http://schemas.microsoft.com/office/drawing/2014/main" id="{8F04BCEE-24E3-4851-9EE2-EADFA516A590}"/>
                </a:ext>
              </a:extLst>
            </p:cNvPr>
            <p:cNvSpPr/>
            <p:nvPr/>
          </p:nvSpPr>
          <p:spPr bwMode="auto">
            <a:xfrm>
              <a:off x="946877" y="4945856"/>
              <a:ext cx="1412376" cy="1412376"/>
            </a:xfrm>
            <a:prstGeom prst="arc">
              <a:avLst>
                <a:gd name="adj1" fmla="val 14859089"/>
                <a:gd name="adj2" fmla="val 2867265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23DC0ED0-7C10-4E30-9B81-A3C8E8ABDBB7}"/>
              </a:ext>
            </a:extLst>
          </p:cNvPr>
          <p:cNvGrpSpPr/>
          <p:nvPr userDrawn="1"/>
        </p:nvGrpSpPr>
        <p:grpSpPr>
          <a:xfrm>
            <a:off x="5987988" y="4945856"/>
            <a:ext cx="1412376" cy="1412376"/>
            <a:chOff x="946877" y="4945856"/>
            <a:chExt cx="1412376" cy="1412376"/>
          </a:xfrm>
        </p:grpSpPr>
        <p:sp>
          <p:nvSpPr>
            <p:cNvPr id="50" name="Дуга 49">
              <a:extLst>
                <a:ext uri="{FF2B5EF4-FFF2-40B4-BE49-F238E27FC236}">
                  <a16:creationId xmlns:a16="http://schemas.microsoft.com/office/drawing/2014/main" id="{8780A66D-5D95-4295-87E0-10724DBA8675}"/>
                </a:ext>
              </a:extLst>
            </p:cNvPr>
            <p:cNvSpPr/>
            <p:nvPr/>
          </p:nvSpPr>
          <p:spPr bwMode="auto">
            <a:xfrm>
              <a:off x="1048624" y="5047603"/>
              <a:ext cx="1208881" cy="1208881"/>
            </a:xfrm>
            <a:prstGeom prst="arc">
              <a:avLst>
                <a:gd name="adj1" fmla="val 17879824"/>
                <a:gd name="adj2" fmla="val 3926866"/>
              </a:avLst>
            </a:prstGeom>
            <a:noFill/>
            <a:ln w="1016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1" name="Дуга 50">
              <a:extLst>
                <a:ext uri="{FF2B5EF4-FFF2-40B4-BE49-F238E27FC236}">
                  <a16:creationId xmlns:a16="http://schemas.microsoft.com/office/drawing/2014/main" id="{D2AB18F3-E7CF-4E8D-80FF-B7A368B69E90}"/>
                </a:ext>
              </a:extLst>
            </p:cNvPr>
            <p:cNvSpPr/>
            <p:nvPr/>
          </p:nvSpPr>
          <p:spPr bwMode="auto">
            <a:xfrm>
              <a:off x="1149058" y="5148035"/>
              <a:ext cx="1008017" cy="1008017"/>
            </a:xfrm>
            <a:prstGeom prst="arc">
              <a:avLst>
                <a:gd name="adj1" fmla="val 20104501"/>
                <a:gd name="adj2" fmla="val 5558811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2" name="Дуга 51">
              <a:extLst>
                <a:ext uri="{FF2B5EF4-FFF2-40B4-BE49-F238E27FC236}">
                  <a16:creationId xmlns:a16="http://schemas.microsoft.com/office/drawing/2014/main" id="{6F11061A-85DD-49EA-A1C5-612B94CB4491}"/>
                </a:ext>
              </a:extLst>
            </p:cNvPr>
            <p:cNvSpPr/>
            <p:nvPr/>
          </p:nvSpPr>
          <p:spPr bwMode="auto">
            <a:xfrm>
              <a:off x="946877" y="4945856"/>
              <a:ext cx="1412376" cy="1412376"/>
            </a:xfrm>
            <a:prstGeom prst="arc">
              <a:avLst>
                <a:gd name="adj1" fmla="val 9015870"/>
                <a:gd name="adj2" fmla="val 19150904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154A23F8-241E-43EB-A93C-D97FB4420737}"/>
              </a:ext>
            </a:extLst>
          </p:cNvPr>
          <p:cNvGrpSpPr/>
          <p:nvPr userDrawn="1"/>
        </p:nvGrpSpPr>
        <p:grpSpPr>
          <a:xfrm>
            <a:off x="5987988" y="3062610"/>
            <a:ext cx="1412376" cy="1412376"/>
            <a:chOff x="946877" y="4945856"/>
            <a:chExt cx="1412376" cy="1412376"/>
          </a:xfrm>
        </p:grpSpPr>
        <p:sp>
          <p:nvSpPr>
            <p:cNvPr id="54" name="Дуга 53">
              <a:extLst>
                <a:ext uri="{FF2B5EF4-FFF2-40B4-BE49-F238E27FC236}">
                  <a16:creationId xmlns:a16="http://schemas.microsoft.com/office/drawing/2014/main" id="{AC982B90-E3F6-4B36-91EC-341383CAF641}"/>
                </a:ext>
              </a:extLst>
            </p:cNvPr>
            <p:cNvSpPr/>
            <p:nvPr/>
          </p:nvSpPr>
          <p:spPr bwMode="auto">
            <a:xfrm>
              <a:off x="1048624" y="5047603"/>
              <a:ext cx="1208881" cy="1208881"/>
            </a:xfrm>
            <a:prstGeom prst="arc">
              <a:avLst>
                <a:gd name="adj1" fmla="val 10694836"/>
                <a:gd name="adj2" fmla="val 19218249"/>
              </a:avLst>
            </a:prstGeom>
            <a:noFill/>
            <a:ln w="1016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5" name="Дуга 54">
              <a:extLst>
                <a:ext uri="{FF2B5EF4-FFF2-40B4-BE49-F238E27FC236}">
                  <a16:creationId xmlns:a16="http://schemas.microsoft.com/office/drawing/2014/main" id="{1983A81D-798E-4DF0-806A-B310408A8821}"/>
                </a:ext>
              </a:extLst>
            </p:cNvPr>
            <p:cNvSpPr/>
            <p:nvPr/>
          </p:nvSpPr>
          <p:spPr bwMode="auto">
            <a:xfrm>
              <a:off x="1149058" y="5148035"/>
              <a:ext cx="1008017" cy="1008017"/>
            </a:xfrm>
            <a:prstGeom prst="arc">
              <a:avLst>
                <a:gd name="adj1" fmla="val 9074145"/>
                <a:gd name="adj2" fmla="val 15665058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6" name="Дуга 55">
              <a:extLst>
                <a:ext uri="{FF2B5EF4-FFF2-40B4-BE49-F238E27FC236}">
                  <a16:creationId xmlns:a16="http://schemas.microsoft.com/office/drawing/2014/main" id="{79B253BA-DBD2-4A4B-91BE-B408D5D5F9E7}"/>
                </a:ext>
              </a:extLst>
            </p:cNvPr>
            <p:cNvSpPr/>
            <p:nvPr/>
          </p:nvSpPr>
          <p:spPr bwMode="auto">
            <a:xfrm>
              <a:off x="946877" y="4945856"/>
              <a:ext cx="1412376" cy="1412376"/>
            </a:xfrm>
            <a:prstGeom prst="arc">
              <a:avLst>
                <a:gd name="adj1" fmla="val 14859089"/>
                <a:gd name="adj2" fmla="val 4784748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C12105FB-7243-4C6A-B07D-C8D50B03F810}"/>
              </a:ext>
            </a:extLst>
          </p:cNvPr>
          <p:cNvGrpSpPr/>
          <p:nvPr userDrawn="1"/>
        </p:nvGrpSpPr>
        <p:grpSpPr>
          <a:xfrm>
            <a:off x="5987988" y="1231337"/>
            <a:ext cx="1412376" cy="1412376"/>
            <a:chOff x="946877" y="4945856"/>
            <a:chExt cx="1412376" cy="1412376"/>
          </a:xfrm>
        </p:grpSpPr>
        <p:sp>
          <p:nvSpPr>
            <p:cNvPr id="58" name="Дуга 57">
              <a:extLst>
                <a:ext uri="{FF2B5EF4-FFF2-40B4-BE49-F238E27FC236}">
                  <a16:creationId xmlns:a16="http://schemas.microsoft.com/office/drawing/2014/main" id="{B33F3862-2B2A-40AC-8282-816CFC59D3B7}"/>
                </a:ext>
              </a:extLst>
            </p:cNvPr>
            <p:cNvSpPr/>
            <p:nvPr/>
          </p:nvSpPr>
          <p:spPr bwMode="auto">
            <a:xfrm>
              <a:off x="1048624" y="5047603"/>
              <a:ext cx="1208881" cy="1208881"/>
            </a:xfrm>
            <a:prstGeom prst="arc">
              <a:avLst>
                <a:gd name="adj1" fmla="val 15799015"/>
                <a:gd name="adj2" fmla="val 2432566"/>
              </a:avLst>
            </a:prstGeom>
            <a:noFill/>
            <a:ln w="1016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9" name="Дуга 58">
              <a:extLst>
                <a:ext uri="{FF2B5EF4-FFF2-40B4-BE49-F238E27FC236}">
                  <a16:creationId xmlns:a16="http://schemas.microsoft.com/office/drawing/2014/main" id="{46781A37-90E9-44B6-9D95-1913CB15017E}"/>
                </a:ext>
              </a:extLst>
            </p:cNvPr>
            <p:cNvSpPr/>
            <p:nvPr/>
          </p:nvSpPr>
          <p:spPr bwMode="auto">
            <a:xfrm>
              <a:off x="1149058" y="5148035"/>
              <a:ext cx="1008017" cy="1008017"/>
            </a:xfrm>
            <a:prstGeom prst="arc">
              <a:avLst>
                <a:gd name="adj1" fmla="val 21557083"/>
                <a:gd name="adj2" fmla="val 7317654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0" name="Дуга 59">
              <a:extLst>
                <a:ext uri="{FF2B5EF4-FFF2-40B4-BE49-F238E27FC236}">
                  <a16:creationId xmlns:a16="http://schemas.microsoft.com/office/drawing/2014/main" id="{6F75EFB6-FAB1-432A-81B9-180192378C62}"/>
                </a:ext>
              </a:extLst>
            </p:cNvPr>
            <p:cNvSpPr/>
            <p:nvPr/>
          </p:nvSpPr>
          <p:spPr bwMode="auto">
            <a:xfrm>
              <a:off x="946877" y="4945856"/>
              <a:ext cx="1412376" cy="1412376"/>
            </a:xfrm>
            <a:prstGeom prst="arc">
              <a:avLst>
                <a:gd name="adj1" fmla="val 8178389"/>
                <a:gd name="adj2" fmla="val 17188452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37" name="Slide Number Placeholder 7">
            <a:extLst>
              <a:ext uri="{FF2B5EF4-FFF2-40B4-BE49-F238E27FC236}">
                <a16:creationId xmlns:a16="http://schemas.microsoft.com/office/drawing/2014/main" id="{B2902128-9BCC-463B-9EC6-D11C8BCFAD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8" name="Текст 3">
            <a:extLst>
              <a:ext uri="{FF2B5EF4-FFF2-40B4-BE49-F238E27FC236}">
                <a16:creationId xmlns:a16="http://schemas.microsoft.com/office/drawing/2014/main" id="{95493472-4877-442E-ACD9-C851529CA6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29962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хема фото с людь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" name="Рисунок 13">
            <a:extLst>
              <a:ext uri="{FF2B5EF4-FFF2-40B4-BE49-F238E27FC236}">
                <a16:creationId xmlns:a16="http://schemas.microsoft.com/office/drawing/2014/main" id="{68A87041-9869-4786-8837-88AFBFE952F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47800" y="140318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554642B5-45F3-4C67-B814-B20780BA4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01842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Рисунок 13">
            <a:extLst>
              <a:ext uri="{FF2B5EF4-FFF2-40B4-BE49-F238E27FC236}">
                <a16:creationId xmlns:a16="http://schemas.microsoft.com/office/drawing/2014/main" id="{F0A5985A-4AE2-443D-B641-1D6516AE92E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89905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Рисунок 13">
            <a:extLst>
              <a:ext uri="{FF2B5EF4-FFF2-40B4-BE49-F238E27FC236}">
                <a16:creationId xmlns:a16="http://schemas.microsoft.com/office/drawing/2014/main" id="{9B56A0C1-38C8-44E6-94E8-8F151EF4536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977968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A3115D26-324B-4C69-B519-1D0A28339B3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566032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B98B5B00-C06A-487C-8747-9B39092F38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9BCA3E88-282F-4D10-8D5F-78D89E8EB9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85711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ользовательский макет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8A42EDAC-972D-4561-8D17-435F67F7B38C}"/>
              </a:ext>
            </a:extLst>
          </p:cNvPr>
          <p:cNvSpPr/>
          <p:nvPr userDrawn="1"/>
        </p:nvSpPr>
        <p:spPr>
          <a:xfrm>
            <a:off x="11283769" y="29842"/>
            <a:ext cx="908230" cy="2576632"/>
          </a:xfrm>
          <a:custGeom>
            <a:avLst/>
            <a:gdLst>
              <a:gd name="connsiteX0" fmla="*/ 0 w 899794"/>
              <a:gd name="connsiteY0" fmla="*/ 0 h 2552700"/>
              <a:gd name="connsiteX1" fmla="*/ 0 w 899794"/>
              <a:gd name="connsiteY1" fmla="*/ 2552700 h 2552700"/>
              <a:gd name="connsiteX2" fmla="*/ 899795 w 899794"/>
              <a:gd name="connsiteY2" fmla="*/ 1652905 h 2552700"/>
              <a:gd name="connsiteX3" fmla="*/ 899795 w 899794"/>
              <a:gd name="connsiteY3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794" h="2552700">
                <a:moveTo>
                  <a:pt x="0" y="0"/>
                </a:moveTo>
                <a:lnTo>
                  <a:pt x="0" y="2552700"/>
                </a:lnTo>
                <a:lnTo>
                  <a:pt x="899795" y="1652905"/>
                </a:lnTo>
                <a:lnTo>
                  <a:pt x="8997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7DA07329-2815-4181-9C0F-470DAA2099A3}"/>
              </a:ext>
            </a:extLst>
          </p:cNvPr>
          <p:cNvSpPr/>
          <p:nvPr userDrawn="1"/>
        </p:nvSpPr>
        <p:spPr>
          <a:xfrm>
            <a:off x="6442009" y="0"/>
            <a:ext cx="1007295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id="{15551796-9430-44BB-9A13-B715C717E44B}"/>
              </a:ext>
            </a:extLst>
          </p:cNvPr>
          <p:cNvSpPr/>
          <p:nvPr userDrawn="1"/>
        </p:nvSpPr>
        <p:spPr>
          <a:xfrm>
            <a:off x="7032242" y="5834312"/>
            <a:ext cx="4251528" cy="1023688"/>
          </a:xfrm>
          <a:custGeom>
            <a:avLst/>
            <a:gdLst>
              <a:gd name="connsiteX0" fmla="*/ 1023688 w 4251528"/>
              <a:gd name="connsiteY0" fmla="*/ 0 h 1023688"/>
              <a:gd name="connsiteX1" fmla="*/ 4251528 w 4251528"/>
              <a:gd name="connsiteY1" fmla="*/ 0 h 1023688"/>
              <a:gd name="connsiteX2" fmla="*/ 4251528 w 4251528"/>
              <a:gd name="connsiteY2" fmla="*/ 1023688 h 1023688"/>
              <a:gd name="connsiteX3" fmla="*/ 0 w 4251528"/>
              <a:gd name="connsiteY3" fmla="*/ 1023688 h 102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1528" h="1023688">
                <a:moveTo>
                  <a:pt x="1023688" y="0"/>
                </a:moveTo>
                <a:lnTo>
                  <a:pt x="4251528" y="0"/>
                </a:lnTo>
                <a:lnTo>
                  <a:pt x="4251528" y="1023688"/>
                </a:lnTo>
                <a:lnTo>
                  <a:pt x="0" y="1023688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4" y="6561348"/>
            <a:ext cx="648072" cy="230864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mtClean="0">
                <a:solidFill>
                  <a:schemeClr val="bg1"/>
                </a:solidFill>
              </a:rPr>
              <a:pPr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8" name="Заголовок 12">
            <a:extLst>
              <a:ext uri="{FF2B5EF4-FFF2-40B4-BE49-F238E27FC236}">
                <a16:creationId xmlns:a16="http://schemas.microsoft.com/office/drawing/2014/main" id="{8D3E5806-E57D-47C6-9D92-8F1B66C22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629" y="1106128"/>
            <a:ext cx="6124585" cy="1116578"/>
          </a:xfrm>
        </p:spPr>
        <p:txBody>
          <a:bodyPr anchor="b">
            <a:noAutofit/>
          </a:bodyPr>
          <a:lstStyle>
            <a:lvl1pPr>
              <a:def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ru-RU" sz="4000" b="1" dirty="0">
                <a:solidFill>
                  <a:srgbClr val="FFFFFF"/>
                </a:solidFill>
              </a:rPr>
              <a:t>Титульный слай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Текст 19">
            <a:extLst>
              <a:ext uri="{FF2B5EF4-FFF2-40B4-BE49-F238E27FC236}">
                <a16:creationId xmlns:a16="http://schemas.microsoft.com/office/drawing/2014/main" id="{A0EF04F5-7844-4252-B6E1-7773238540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629" y="2394168"/>
            <a:ext cx="6124585" cy="233910"/>
          </a:xfrm>
        </p:spPr>
        <p:txBody>
          <a:bodyPr>
            <a:spAutoFit/>
          </a:bodyPr>
          <a:lstStyle>
            <a:lvl1pPr marL="180000" indent="-180000" algn="l" defTabSz="883649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ts val="200"/>
              </a:spcAft>
              <a:defRPr lang="ru-RU" sz="16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30" name="Прямая соединительная линия 9">
            <a:extLst>
              <a:ext uri="{FF2B5EF4-FFF2-40B4-BE49-F238E27FC236}">
                <a16:creationId xmlns:a16="http://schemas.microsoft.com/office/drawing/2014/main" id="{8F4FE799-1569-445B-A49F-10F0A429BC4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3863158-CE6B-4333-BB35-9848BA3996BF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bg1"/>
                </a:solidFill>
              </a:rPr>
            </a:br>
            <a:r>
              <a:rPr lang="ru-RU" sz="500" dirty="0">
                <a:solidFill>
                  <a:schemeClr val="bg1"/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87136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руговая схема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4A61B867-AAAA-4DAF-8D60-936029F21D1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54192" y="2919020"/>
            <a:ext cx="1717900" cy="1717900"/>
          </a:xfrm>
          <a:custGeom>
            <a:avLst/>
            <a:gdLst>
              <a:gd name="connsiteX0" fmla="*/ 858950 w 1717900"/>
              <a:gd name="connsiteY0" fmla="*/ 0 h 1717900"/>
              <a:gd name="connsiteX1" fmla="*/ 1717900 w 1717900"/>
              <a:gd name="connsiteY1" fmla="*/ 858950 h 1717900"/>
              <a:gd name="connsiteX2" fmla="*/ 858950 w 1717900"/>
              <a:gd name="connsiteY2" fmla="*/ 1717900 h 1717900"/>
              <a:gd name="connsiteX3" fmla="*/ 0 w 1717900"/>
              <a:gd name="connsiteY3" fmla="*/ 858950 h 1717900"/>
              <a:gd name="connsiteX4" fmla="*/ 858950 w 1717900"/>
              <a:gd name="connsiteY4" fmla="*/ 0 h 17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900" h="1717900">
                <a:moveTo>
                  <a:pt x="858950" y="0"/>
                </a:moveTo>
                <a:cubicBezTo>
                  <a:pt x="1333335" y="0"/>
                  <a:pt x="1717900" y="384565"/>
                  <a:pt x="1717900" y="858950"/>
                </a:cubicBezTo>
                <a:cubicBezTo>
                  <a:pt x="1717900" y="1333335"/>
                  <a:pt x="1333335" y="1717900"/>
                  <a:pt x="858950" y="1717900"/>
                </a:cubicBezTo>
                <a:cubicBezTo>
                  <a:pt x="384565" y="1717900"/>
                  <a:pt x="0" y="1333335"/>
                  <a:pt x="0" y="858950"/>
                </a:cubicBezTo>
                <a:cubicBezTo>
                  <a:pt x="0" y="384565"/>
                  <a:pt x="384565" y="0"/>
                  <a:pt x="85895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3425B92F-5C4B-4673-A604-90D9AD5F6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3">
            <a:extLst>
              <a:ext uri="{FF2B5EF4-FFF2-40B4-BE49-F238E27FC236}">
                <a16:creationId xmlns:a16="http://schemas.microsoft.com/office/drawing/2014/main" id="{76BFD2CC-25DB-4092-A11F-B9D50400E2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62582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хем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4663EF5-10C4-49EC-88C8-16AF90F8EC81}"/>
              </a:ext>
            </a:extLst>
          </p:cNvPr>
          <p:cNvSpPr/>
          <p:nvPr userDrawn="1"/>
        </p:nvSpPr>
        <p:spPr>
          <a:xfrm>
            <a:off x="5601505" y="1088740"/>
            <a:ext cx="6111119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300F2668-2E4C-4F9B-BCF1-84DE6D299F50}"/>
              </a:ext>
            </a:extLst>
          </p:cNvPr>
          <p:cNvSpPr/>
          <p:nvPr userDrawn="1"/>
        </p:nvSpPr>
        <p:spPr>
          <a:xfrm>
            <a:off x="5601505" y="2416696"/>
            <a:ext cx="6111119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5E3DF761-2573-49E8-8067-06735714517B}"/>
              </a:ext>
            </a:extLst>
          </p:cNvPr>
          <p:cNvSpPr/>
          <p:nvPr userDrawn="1"/>
        </p:nvSpPr>
        <p:spPr>
          <a:xfrm>
            <a:off x="5601505" y="3744652"/>
            <a:ext cx="6111119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FCBBC2A5-6ADE-4FC4-B775-F0A0B1CA0AEF}"/>
              </a:ext>
            </a:extLst>
          </p:cNvPr>
          <p:cNvSpPr/>
          <p:nvPr userDrawn="1"/>
        </p:nvSpPr>
        <p:spPr>
          <a:xfrm>
            <a:off x="5593493" y="5072608"/>
            <a:ext cx="6111119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" name="Рисунок 13">
            <a:extLst>
              <a:ext uri="{FF2B5EF4-FFF2-40B4-BE49-F238E27FC236}">
                <a16:creationId xmlns:a16="http://schemas.microsoft.com/office/drawing/2014/main" id="{B4112C69-B746-4E26-8F8D-69722E384B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7988" y="1088740"/>
            <a:ext cx="3379762" cy="257297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5D3D3A01-8AB9-41F1-893E-30590EE88E8E}"/>
              </a:ext>
            </a:extLst>
          </p:cNvPr>
          <p:cNvGrpSpPr/>
          <p:nvPr userDrawn="1"/>
        </p:nvGrpSpPr>
        <p:grpSpPr>
          <a:xfrm>
            <a:off x="407987" y="3559577"/>
            <a:ext cx="3389729" cy="2690231"/>
            <a:chOff x="5274143" y="3725742"/>
            <a:chExt cx="2592022" cy="2078450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898D947E-A2C1-49A9-854C-1C75F146DC0B}"/>
                </a:ext>
              </a:extLst>
            </p:cNvPr>
            <p:cNvSpPr/>
            <p:nvPr/>
          </p:nvSpPr>
          <p:spPr>
            <a:xfrm>
              <a:off x="5274143" y="3725742"/>
              <a:ext cx="2590996" cy="2078450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B034E5A1-769F-4F2B-9979-8A9648E1C5A7}"/>
                </a:ext>
              </a:extLst>
            </p:cNvPr>
            <p:cNvSpPr/>
            <p:nvPr/>
          </p:nvSpPr>
          <p:spPr>
            <a:xfrm>
              <a:off x="5275168" y="3725742"/>
              <a:ext cx="2590997" cy="2078449"/>
            </a:xfrm>
            <a:custGeom>
              <a:avLst/>
              <a:gdLst>
                <a:gd name="connsiteX0" fmla="*/ 514838 w 2590997"/>
                <a:gd name="connsiteY0" fmla="*/ 0 h 2078449"/>
                <a:gd name="connsiteX1" fmla="*/ 2590997 w 2590997"/>
                <a:gd name="connsiteY1" fmla="*/ 0 h 2078449"/>
                <a:gd name="connsiteX2" fmla="*/ 2590997 w 2590997"/>
                <a:gd name="connsiteY2" fmla="*/ 1378846 h 2078449"/>
                <a:gd name="connsiteX3" fmla="*/ 2590996 w 2590997"/>
                <a:gd name="connsiteY3" fmla="*/ 1378847 h 2078449"/>
                <a:gd name="connsiteX4" fmla="*/ 1891394 w 2590997"/>
                <a:gd name="connsiteY4" fmla="*/ 2078449 h 2078449"/>
                <a:gd name="connsiteX5" fmla="*/ 1727331 w 2590997"/>
                <a:gd name="connsiteY5" fmla="*/ 2078449 h 2078449"/>
                <a:gd name="connsiteX6" fmla="*/ 1727331 w 2590997"/>
                <a:gd name="connsiteY6" fmla="*/ 515181 h 2078449"/>
                <a:gd name="connsiteX7" fmla="*/ 0 w 2590997"/>
                <a:gd name="connsiteY7" fmla="*/ 515181 h 2078449"/>
                <a:gd name="connsiteX8" fmla="*/ 514838 w 2590997"/>
                <a:gd name="connsiteY8" fmla="*/ 0 h 2078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0997" h="2078449">
                  <a:moveTo>
                    <a:pt x="514838" y="0"/>
                  </a:moveTo>
                  <a:lnTo>
                    <a:pt x="2590997" y="0"/>
                  </a:lnTo>
                  <a:lnTo>
                    <a:pt x="2590997" y="1378846"/>
                  </a:lnTo>
                  <a:lnTo>
                    <a:pt x="2590996" y="1378847"/>
                  </a:lnTo>
                  <a:lnTo>
                    <a:pt x="1891394" y="2078449"/>
                  </a:lnTo>
                  <a:lnTo>
                    <a:pt x="1727331" y="2078449"/>
                  </a:lnTo>
                  <a:lnTo>
                    <a:pt x="1727331" y="515181"/>
                  </a:lnTo>
                  <a:lnTo>
                    <a:pt x="0" y="515181"/>
                  </a:lnTo>
                  <a:lnTo>
                    <a:pt x="51483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86000">
                  <a:schemeClr val="accent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F5A63A48-D396-477D-A1A2-FD35BC6E6800}"/>
                </a:ext>
              </a:extLst>
            </p:cNvPr>
            <p:cNvSpPr/>
            <p:nvPr/>
          </p:nvSpPr>
          <p:spPr>
            <a:xfrm>
              <a:off x="5274864" y="5104588"/>
              <a:ext cx="856350" cy="699603"/>
            </a:xfrm>
            <a:custGeom>
              <a:avLst/>
              <a:gdLst>
                <a:gd name="connsiteX0" fmla="*/ 0 w 856350"/>
                <a:gd name="connsiteY0" fmla="*/ 0 h 699603"/>
                <a:gd name="connsiteX1" fmla="*/ 856350 w 856350"/>
                <a:gd name="connsiteY1" fmla="*/ 0 h 699603"/>
                <a:gd name="connsiteX2" fmla="*/ 856350 w 856350"/>
                <a:gd name="connsiteY2" fmla="*/ 699603 h 699603"/>
                <a:gd name="connsiteX3" fmla="*/ 0 w 856350"/>
                <a:gd name="connsiteY3" fmla="*/ 699603 h 699603"/>
                <a:gd name="connsiteX4" fmla="*/ 0 w 856350"/>
                <a:gd name="connsiteY4" fmla="*/ 0 h 69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350" h="699603">
                  <a:moveTo>
                    <a:pt x="0" y="0"/>
                  </a:moveTo>
                  <a:lnTo>
                    <a:pt x="856350" y="0"/>
                  </a:lnTo>
                  <a:lnTo>
                    <a:pt x="856350" y="699603"/>
                  </a:lnTo>
                  <a:lnTo>
                    <a:pt x="0" y="69960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86000">
                  <a:schemeClr val="accent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/>
            </a:p>
          </p:txBody>
        </p:sp>
      </p:grpSp>
      <p:sp>
        <p:nvSpPr>
          <p:cNvPr id="48" name="Рисунок 13">
            <a:extLst>
              <a:ext uri="{FF2B5EF4-FFF2-40B4-BE49-F238E27FC236}">
                <a16:creationId xmlns:a16="http://schemas.microsoft.com/office/drawing/2014/main" id="{6D4E6D65-E1DC-4D39-A22B-4383C1AD796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20336" y="2416325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9" name="Рисунок 13">
            <a:extLst>
              <a:ext uri="{FF2B5EF4-FFF2-40B4-BE49-F238E27FC236}">
                <a16:creationId xmlns:a16="http://schemas.microsoft.com/office/drawing/2014/main" id="{7566EF06-F4EE-4A93-B797-4D949201E3F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120336" y="1088740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0" name="Рисунок 13">
            <a:extLst>
              <a:ext uri="{FF2B5EF4-FFF2-40B4-BE49-F238E27FC236}">
                <a16:creationId xmlns:a16="http://schemas.microsoft.com/office/drawing/2014/main" id="{7106A8ED-F888-44BE-A61A-EA9C8336F0A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112324" y="5071496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1" name="Рисунок 13">
            <a:extLst>
              <a:ext uri="{FF2B5EF4-FFF2-40B4-BE49-F238E27FC236}">
                <a16:creationId xmlns:a16="http://schemas.microsoft.com/office/drawing/2014/main" id="{A0E2E3C1-C927-466D-A514-0CF5BDD71A6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20336" y="3743910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cxnSp>
        <p:nvCxnSpPr>
          <p:cNvPr id="74" name="Соединитель: уступ 73">
            <a:extLst>
              <a:ext uri="{FF2B5EF4-FFF2-40B4-BE49-F238E27FC236}">
                <a16:creationId xmlns:a16="http://schemas.microsoft.com/office/drawing/2014/main" id="{FE1D0395-BCDA-4800-8662-5483BEB92205}"/>
              </a:ext>
            </a:extLst>
          </p:cNvPr>
          <p:cNvCxnSpPr>
            <a:cxnSpLocks/>
            <a:stCxn id="43" idx="1"/>
            <a:endCxn id="2" idx="1"/>
          </p:cNvCxnSpPr>
          <p:nvPr userDrawn="1"/>
        </p:nvCxnSpPr>
        <p:spPr bwMode="auto">
          <a:xfrm flipV="1">
            <a:off x="3797716" y="1677340"/>
            <a:ext cx="1803789" cy="1882237"/>
          </a:xfrm>
          <a:prstGeom prst="bentConnector3">
            <a:avLst>
              <a:gd name="adj1" fmla="val 49868"/>
            </a:avLst>
          </a:prstGeom>
          <a:solidFill>
            <a:schemeClr val="accent1"/>
          </a:solidFill>
          <a:ln w="9525" cap="flat" cmpd="sng" algn="ctr">
            <a:gradFill>
              <a:gsLst>
                <a:gs pos="55000">
                  <a:schemeClr val="bg2"/>
                </a:gs>
                <a:gs pos="100000">
                  <a:schemeClr val="accent1"/>
                </a:gs>
              </a:gsLst>
              <a:lin ang="0" scaled="0"/>
            </a:gradFill>
            <a:prstDash val="solid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4" name="Соединитель: уступ 103">
            <a:extLst>
              <a:ext uri="{FF2B5EF4-FFF2-40B4-BE49-F238E27FC236}">
                <a16:creationId xmlns:a16="http://schemas.microsoft.com/office/drawing/2014/main" id="{C521CB12-68BE-4D75-A3B8-991DB008D516}"/>
              </a:ext>
            </a:extLst>
          </p:cNvPr>
          <p:cNvCxnSpPr>
            <a:stCxn id="43" idx="1"/>
            <a:endCxn id="52" idx="1"/>
          </p:cNvCxnSpPr>
          <p:nvPr userDrawn="1"/>
        </p:nvCxnSpPr>
        <p:spPr bwMode="auto">
          <a:xfrm flipV="1">
            <a:off x="3797716" y="3005296"/>
            <a:ext cx="1803789" cy="554281"/>
          </a:xfrm>
          <a:prstGeom prst="bentConnector3">
            <a:avLst>
              <a:gd name="adj1" fmla="val 49868"/>
            </a:avLst>
          </a:prstGeom>
          <a:solidFill>
            <a:schemeClr val="accent1"/>
          </a:solidFill>
          <a:ln w="9525" cap="flat" cmpd="sng" algn="ctr">
            <a:gradFill>
              <a:gsLst>
                <a:gs pos="55000">
                  <a:schemeClr val="bg2"/>
                </a:gs>
                <a:gs pos="100000">
                  <a:schemeClr val="accent1"/>
                </a:gs>
              </a:gsLst>
              <a:lin ang="0" scaled="0"/>
            </a:gradFill>
            <a:prstDash val="solid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6" name="Соединитель: уступ 105">
            <a:extLst>
              <a:ext uri="{FF2B5EF4-FFF2-40B4-BE49-F238E27FC236}">
                <a16:creationId xmlns:a16="http://schemas.microsoft.com/office/drawing/2014/main" id="{604AAE0C-ABB9-45E2-B06D-4ABF86F68204}"/>
              </a:ext>
            </a:extLst>
          </p:cNvPr>
          <p:cNvCxnSpPr>
            <a:stCxn id="43" idx="1"/>
            <a:endCxn id="53" idx="1"/>
          </p:cNvCxnSpPr>
          <p:nvPr userDrawn="1"/>
        </p:nvCxnSpPr>
        <p:spPr bwMode="auto">
          <a:xfrm>
            <a:off x="3797716" y="3559577"/>
            <a:ext cx="1803789" cy="773675"/>
          </a:xfrm>
          <a:prstGeom prst="bentConnector3">
            <a:avLst>
              <a:gd name="adj1" fmla="val 49868"/>
            </a:avLst>
          </a:prstGeom>
          <a:solidFill>
            <a:schemeClr val="accent1"/>
          </a:solidFill>
          <a:ln w="9525" cap="flat" cmpd="sng" algn="ctr">
            <a:gradFill>
              <a:gsLst>
                <a:gs pos="55000">
                  <a:schemeClr val="bg2"/>
                </a:gs>
                <a:gs pos="100000">
                  <a:schemeClr val="accent1"/>
                </a:gs>
              </a:gsLst>
              <a:lin ang="0" scaled="0"/>
            </a:gradFill>
            <a:prstDash val="solid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8" name="Соединитель: уступ 107">
            <a:extLst>
              <a:ext uri="{FF2B5EF4-FFF2-40B4-BE49-F238E27FC236}">
                <a16:creationId xmlns:a16="http://schemas.microsoft.com/office/drawing/2014/main" id="{908E2E00-2DD2-45A0-96D4-298F474C1DBF}"/>
              </a:ext>
            </a:extLst>
          </p:cNvPr>
          <p:cNvCxnSpPr>
            <a:stCxn id="43" idx="1"/>
            <a:endCxn id="54" idx="1"/>
          </p:cNvCxnSpPr>
          <p:nvPr userDrawn="1"/>
        </p:nvCxnSpPr>
        <p:spPr bwMode="auto">
          <a:xfrm>
            <a:off x="3797716" y="3559577"/>
            <a:ext cx="1795777" cy="2101631"/>
          </a:xfrm>
          <a:prstGeom prst="bentConnector3">
            <a:avLst>
              <a:gd name="adj1" fmla="val 50133"/>
            </a:avLst>
          </a:prstGeom>
          <a:solidFill>
            <a:schemeClr val="accent1"/>
          </a:solidFill>
          <a:ln w="9525" cap="flat" cmpd="sng" algn="ctr">
            <a:gradFill>
              <a:gsLst>
                <a:gs pos="55000">
                  <a:schemeClr val="bg2"/>
                </a:gs>
                <a:gs pos="100000">
                  <a:schemeClr val="accent1"/>
                </a:gs>
              </a:gsLst>
              <a:lin ang="0" scaled="0"/>
            </a:gradFill>
            <a:prstDash val="solid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Slide Number Placeholder 7">
            <a:extLst>
              <a:ext uri="{FF2B5EF4-FFF2-40B4-BE49-F238E27FC236}">
                <a16:creationId xmlns:a16="http://schemas.microsoft.com/office/drawing/2014/main" id="{D575D0C9-6508-40C1-98BA-4B4ADE37AE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3">
            <a:extLst>
              <a:ext uri="{FF2B5EF4-FFF2-40B4-BE49-F238E27FC236}">
                <a16:creationId xmlns:a16="http://schemas.microsoft.com/office/drawing/2014/main" id="{B9265922-E1C7-42C4-92A8-A04AF38F4E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75123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хем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Рисунок 13">
            <a:extLst>
              <a:ext uri="{FF2B5EF4-FFF2-40B4-BE49-F238E27FC236}">
                <a16:creationId xmlns:a16="http://schemas.microsoft.com/office/drawing/2014/main" id="{B4112C69-B746-4E26-8F8D-69722E384B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76197" y="1094536"/>
            <a:ext cx="3650976" cy="211844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5D3D3A01-8AB9-41F1-893E-30590EE88E8E}"/>
              </a:ext>
            </a:extLst>
          </p:cNvPr>
          <p:cNvGrpSpPr/>
          <p:nvPr userDrawn="1"/>
        </p:nvGrpSpPr>
        <p:grpSpPr>
          <a:xfrm>
            <a:off x="407987" y="1094537"/>
            <a:ext cx="2669267" cy="2118442"/>
            <a:chOff x="5274143" y="3725742"/>
            <a:chExt cx="2592022" cy="2078450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898D947E-A2C1-49A9-854C-1C75F146DC0B}"/>
                </a:ext>
              </a:extLst>
            </p:cNvPr>
            <p:cNvSpPr/>
            <p:nvPr/>
          </p:nvSpPr>
          <p:spPr>
            <a:xfrm>
              <a:off x="5274143" y="3725742"/>
              <a:ext cx="2590996" cy="2078450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B034E5A1-769F-4F2B-9979-8A9648E1C5A7}"/>
                </a:ext>
              </a:extLst>
            </p:cNvPr>
            <p:cNvSpPr/>
            <p:nvPr/>
          </p:nvSpPr>
          <p:spPr>
            <a:xfrm>
              <a:off x="5275168" y="3725742"/>
              <a:ext cx="2590997" cy="2078449"/>
            </a:xfrm>
            <a:custGeom>
              <a:avLst/>
              <a:gdLst>
                <a:gd name="connsiteX0" fmla="*/ 514838 w 2590997"/>
                <a:gd name="connsiteY0" fmla="*/ 0 h 2078449"/>
                <a:gd name="connsiteX1" fmla="*/ 2590997 w 2590997"/>
                <a:gd name="connsiteY1" fmla="*/ 0 h 2078449"/>
                <a:gd name="connsiteX2" fmla="*/ 2590997 w 2590997"/>
                <a:gd name="connsiteY2" fmla="*/ 1378846 h 2078449"/>
                <a:gd name="connsiteX3" fmla="*/ 2590996 w 2590997"/>
                <a:gd name="connsiteY3" fmla="*/ 1378847 h 2078449"/>
                <a:gd name="connsiteX4" fmla="*/ 1891394 w 2590997"/>
                <a:gd name="connsiteY4" fmla="*/ 2078449 h 2078449"/>
                <a:gd name="connsiteX5" fmla="*/ 1727331 w 2590997"/>
                <a:gd name="connsiteY5" fmla="*/ 2078449 h 2078449"/>
                <a:gd name="connsiteX6" fmla="*/ 1727331 w 2590997"/>
                <a:gd name="connsiteY6" fmla="*/ 515181 h 2078449"/>
                <a:gd name="connsiteX7" fmla="*/ 0 w 2590997"/>
                <a:gd name="connsiteY7" fmla="*/ 515181 h 2078449"/>
                <a:gd name="connsiteX8" fmla="*/ 514838 w 2590997"/>
                <a:gd name="connsiteY8" fmla="*/ 0 h 2078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0997" h="2078449">
                  <a:moveTo>
                    <a:pt x="514838" y="0"/>
                  </a:moveTo>
                  <a:lnTo>
                    <a:pt x="2590997" y="0"/>
                  </a:lnTo>
                  <a:lnTo>
                    <a:pt x="2590997" y="1378846"/>
                  </a:lnTo>
                  <a:lnTo>
                    <a:pt x="2590996" y="1378847"/>
                  </a:lnTo>
                  <a:lnTo>
                    <a:pt x="1891394" y="2078449"/>
                  </a:lnTo>
                  <a:lnTo>
                    <a:pt x="1727331" y="2078449"/>
                  </a:lnTo>
                  <a:lnTo>
                    <a:pt x="1727331" y="515181"/>
                  </a:lnTo>
                  <a:lnTo>
                    <a:pt x="0" y="515181"/>
                  </a:lnTo>
                  <a:lnTo>
                    <a:pt x="51483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86000">
                  <a:schemeClr val="accent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F5A63A48-D396-477D-A1A2-FD35BC6E6800}"/>
                </a:ext>
              </a:extLst>
            </p:cNvPr>
            <p:cNvSpPr/>
            <p:nvPr/>
          </p:nvSpPr>
          <p:spPr>
            <a:xfrm>
              <a:off x="5274864" y="5104588"/>
              <a:ext cx="856350" cy="699603"/>
            </a:xfrm>
            <a:custGeom>
              <a:avLst/>
              <a:gdLst>
                <a:gd name="connsiteX0" fmla="*/ 0 w 856350"/>
                <a:gd name="connsiteY0" fmla="*/ 0 h 699603"/>
                <a:gd name="connsiteX1" fmla="*/ 856350 w 856350"/>
                <a:gd name="connsiteY1" fmla="*/ 0 h 699603"/>
                <a:gd name="connsiteX2" fmla="*/ 856350 w 856350"/>
                <a:gd name="connsiteY2" fmla="*/ 699603 h 699603"/>
                <a:gd name="connsiteX3" fmla="*/ 0 w 856350"/>
                <a:gd name="connsiteY3" fmla="*/ 699603 h 699603"/>
                <a:gd name="connsiteX4" fmla="*/ 0 w 856350"/>
                <a:gd name="connsiteY4" fmla="*/ 0 h 69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350" h="699603">
                  <a:moveTo>
                    <a:pt x="0" y="0"/>
                  </a:moveTo>
                  <a:lnTo>
                    <a:pt x="856350" y="0"/>
                  </a:lnTo>
                  <a:lnTo>
                    <a:pt x="856350" y="699603"/>
                  </a:lnTo>
                  <a:lnTo>
                    <a:pt x="0" y="69960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86000">
                  <a:schemeClr val="accent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/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4663EF5-10C4-49EC-88C8-16AF90F8EC81}"/>
              </a:ext>
            </a:extLst>
          </p:cNvPr>
          <p:cNvSpPr/>
          <p:nvPr userDrawn="1"/>
        </p:nvSpPr>
        <p:spPr>
          <a:xfrm>
            <a:off x="407988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0AB26E0-BFEB-4CB9-866C-38ED55F1659D}"/>
              </a:ext>
            </a:extLst>
          </p:cNvPr>
          <p:cNvSpPr/>
          <p:nvPr userDrawn="1"/>
        </p:nvSpPr>
        <p:spPr>
          <a:xfrm>
            <a:off x="3309433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289767F2-69AD-4667-BD01-FD679E69D2E5}"/>
              </a:ext>
            </a:extLst>
          </p:cNvPr>
          <p:cNvSpPr/>
          <p:nvPr userDrawn="1"/>
        </p:nvSpPr>
        <p:spPr>
          <a:xfrm>
            <a:off x="6210878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3AFB284E-8083-456D-A09D-9AD94EFB6B66}"/>
              </a:ext>
            </a:extLst>
          </p:cNvPr>
          <p:cNvSpPr/>
          <p:nvPr userDrawn="1"/>
        </p:nvSpPr>
        <p:spPr>
          <a:xfrm>
            <a:off x="9112323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9" name="Рисунок 13">
            <a:extLst>
              <a:ext uri="{FF2B5EF4-FFF2-40B4-BE49-F238E27FC236}">
                <a16:creationId xmlns:a16="http://schemas.microsoft.com/office/drawing/2014/main" id="{7566EF06-F4EE-4A93-B797-4D949201E3F2}"/>
              </a:ext>
            </a:extLst>
          </p:cNvPr>
          <p:cNvSpPr>
            <a:spLocks noGrp="1"/>
          </p:cNvSpPr>
          <p:nvPr userDrawn="1">
            <p:ph type="pic" sz="quarter" idx="28"/>
          </p:nvPr>
        </p:nvSpPr>
        <p:spPr>
          <a:xfrm>
            <a:off x="407989" y="3645023"/>
            <a:ext cx="2668209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2" name="Рисунок 13">
            <a:extLst>
              <a:ext uri="{FF2B5EF4-FFF2-40B4-BE49-F238E27FC236}">
                <a16:creationId xmlns:a16="http://schemas.microsoft.com/office/drawing/2014/main" id="{089C0836-FFC4-4181-9B0B-4CBF759FA12B}"/>
              </a:ext>
            </a:extLst>
          </p:cNvPr>
          <p:cNvSpPr>
            <a:spLocks noGrp="1"/>
          </p:cNvSpPr>
          <p:nvPr userDrawn="1">
            <p:ph type="pic" sz="quarter" idx="31"/>
          </p:nvPr>
        </p:nvSpPr>
        <p:spPr>
          <a:xfrm>
            <a:off x="3309434" y="3645023"/>
            <a:ext cx="2668209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3" name="Рисунок 13">
            <a:extLst>
              <a:ext uri="{FF2B5EF4-FFF2-40B4-BE49-F238E27FC236}">
                <a16:creationId xmlns:a16="http://schemas.microsoft.com/office/drawing/2014/main" id="{7C34B081-7BFA-4FAA-A1B8-26D73B20EB2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210879" y="3645023"/>
            <a:ext cx="2668209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4" name="Рисунок 13">
            <a:extLst>
              <a:ext uri="{FF2B5EF4-FFF2-40B4-BE49-F238E27FC236}">
                <a16:creationId xmlns:a16="http://schemas.microsoft.com/office/drawing/2014/main" id="{EABCF6EC-FCA7-4E6F-88B2-8F2EA1E9736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112323" y="3645023"/>
            <a:ext cx="2668209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cxnSp>
        <p:nvCxnSpPr>
          <p:cNvPr id="7" name="Соединитель: уступ 6">
            <a:extLst>
              <a:ext uri="{FF2B5EF4-FFF2-40B4-BE49-F238E27FC236}">
                <a16:creationId xmlns:a16="http://schemas.microsoft.com/office/drawing/2014/main" id="{0FACF3B4-FE73-478B-9B33-C2D638004E3F}"/>
              </a:ext>
            </a:extLst>
          </p:cNvPr>
          <p:cNvCxnSpPr>
            <a:cxnSpLocks/>
            <a:stCxn id="41" idx="2"/>
            <a:endCxn id="24" idx="0"/>
          </p:cNvCxnSpPr>
          <p:nvPr userDrawn="1"/>
        </p:nvCxnSpPr>
        <p:spPr bwMode="auto">
          <a:xfrm rot="16200000" flipH="1">
            <a:off x="5878238" y="-923167"/>
            <a:ext cx="432044" cy="870433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gradFill>
              <a:gsLst>
                <a:gs pos="55000">
                  <a:schemeClr val="bg2"/>
                </a:gs>
                <a:gs pos="100000">
                  <a:schemeClr val="accent1"/>
                </a:gs>
              </a:gsLst>
              <a:lin ang="0" scaled="0"/>
            </a:gradFill>
            <a:prstDash val="solid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Соединитель: уступ 9">
            <a:extLst>
              <a:ext uri="{FF2B5EF4-FFF2-40B4-BE49-F238E27FC236}">
                <a16:creationId xmlns:a16="http://schemas.microsoft.com/office/drawing/2014/main" id="{6900C73B-6B44-441C-9C79-A94A2976EF5D}"/>
              </a:ext>
            </a:extLst>
          </p:cNvPr>
          <p:cNvCxnSpPr>
            <a:cxnSpLocks/>
            <a:stCxn id="41" idx="2"/>
            <a:endCxn id="23" idx="0"/>
          </p:cNvCxnSpPr>
          <p:nvPr userDrawn="1"/>
        </p:nvCxnSpPr>
        <p:spPr bwMode="auto">
          <a:xfrm rot="16200000" flipH="1">
            <a:off x="4427516" y="527555"/>
            <a:ext cx="432044" cy="580289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gradFill>
              <a:gsLst>
                <a:gs pos="55000">
                  <a:schemeClr val="bg2"/>
                </a:gs>
                <a:gs pos="100000">
                  <a:schemeClr val="accent1"/>
                </a:gs>
              </a:gsLst>
              <a:lin ang="0" scaled="0"/>
            </a:gradFill>
            <a:prstDash val="solid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Соединитель: уступ 11">
            <a:extLst>
              <a:ext uri="{FF2B5EF4-FFF2-40B4-BE49-F238E27FC236}">
                <a16:creationId xmlns:a16="http://schemas.microsoft.com/office/drawing/2014/main" id="{078616EC-DCBB-4038-8A71-5156492E64C7}"/>
              </a:ext>
            </a:extLst>
          </p:cNvPr>
          <p:cNvCxnSpPr>
            <a:cxnSpLocks/>
            <a:stCxn id="41" idx="2"/>
            <a:endCxn id="22" idx="0"/>
          </p:cNvCxnSpPr>
          <p:nvPr userDrawn="1"/>
        </p:nvCxnSpPr>
        <p:spPr bwMode="auto">
          <a:xfrm rot="16200000" flipH="1">
            <a:off x="2976793" y="1978277"/>
            <a:ext cx="432044" cy="290144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gradFill>
              <a:gsLst>
                <a:gs pos="55000">
                  <a:schemeClr val="bg2"/>
                </a:gs>
                <a:gs pos="100000">
                  <a:schemeClr val="accent1"/>
                </a:gs>
              </a:gsLst>
              <a:lin ang="0" scaled="0"/>
            </a:gradFill>
            <a:prstDash val="solid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Соединитель: уступ 24">
            <a:extLst>
              <a:ext uri="{FF2B5EF4-FFF2-40B4-BE49-F238E27FC236}">
                <a16:creationId xmlns:a16="http://schemas.microsoft.com/office/drawing/2014/main" id="{D2D676D9-56D4-49CA-B9B7-43797F365628}"/>
              </a:ext>
            </a:extLst>
          </p:cNvPr>
          <p:cNvCxnSpPr>
            <a:cxnSpLocks/>
            <a:stCxn id="41" idx="2"/>
            <a:endCxn id="49" idx="0"/>
          </p:cNvCxnSpPr>
          <p:nvPr userDrawn="1"/>
        </p:nvCxnSpPr>
        <p:spPr bwMode="auto">
          <a:xfrm rot="16200000" flipH="1">
            <a:off x="1526071" y="3429000"/>
            <a:ext cx="432044" cy="2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gradFill>
              <a:gsLst>
                <a:gs pos="55000">
                  <a:schemeClr val="bg2"/>
                </a:gs>
                <a:gs pos="100000">
                  <a:schemeClr val="accent1"/>
                </a:gs>
              </a:gsLst>
              <a:lin ang="0" scaled="0"/>
            </a:gradFill>
            <a:prstDash val="solid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Slide Number Placeholder 7">
            <a:extLst>
              <a:ext uri="{FF2B5EF4-FFF2-40B4-BE49-F238E27FC236}">
                <a16:creationId xmlns:a16="http://schemas.microsoft.com/office/drawing/2014/main" id="{13057BA5-882A-4E38-BD39-E7A78D295C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7" name="Текст 3">
            <a:extLst>
              <a:ext uri="{FF2B5EF4-FFF2-40B4-BE49-F238E27FC236}">
                <a16:creationId xmlns:a16="http://schemas.microsoft.com/office/drawing/2014/main" id="{74A28709-B960-483D-A48B-A5375DE004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09077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2597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шаблона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8A42EDAC-972D-4561-8D17-435F67F7B38C}"/>
              </a:ext>
            </a:extLst>
          </p:cNvPr>
          <p:cNvSpPr/>
          <p:nvPr userDrawn="1"/>
        </p:nvSpPr>
        <p:spPr>
          <a:xfrm>
            <a:off x="11283769" y="29842"/>
            <a:ext cx="908230" cy="2576632"/>
          </a:xfrm>
          <a:custGeom>
            <a:avLst/>
            <a:gdLst>
              <a:gd name="connsiteX0" fmla="*/ 0 w 899794"/>
              <a:gd name="connsiteY0" fmla="*/ 0 h 2552700"/>
              <a:gd name="connsiteX1" fmla="*/ 0 w 899794"/>
              <a:gd name="connsiteY1" fmla="*/ 2552700 h 2552700"/>
              <a:gd name="connsiteX2" fmla="*/ 899795 w 899794"/>
              <a:gd name="connsiteY2" fmla="*/ 1652905 h 2552700"/>
              <a:gd name="connsiteX3" fmla="*/ 899795 w 899794"/>
              <a:gd name="connsiteY3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794" h="2552700">
                <a:moveTo>
                  <a:pt x="0" y="0"/>
                </a:moveTo>
                <a:lnTo>
                  <a:pt x="0" y="2552700"/>
                </a:lnTo>
                <a:lnTo>
                  <a:pt x="899795" y="1652905"/>
                </a:lnTo>
                <a:lnTo>
                  <a:pt x="8997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7DA07329-2815-4181-9C0F-470DAA2099A3}"/>
              </a:ext>
            </a:extLst>
          </p:cNvPr>
          <p:cNvSpPr/>
          <p:nvPr userDrawn="1"/>
        </p:nvSpPr>
        <p:spPr>
          <a:xfrm>
            <a:off x="6442009" y="0"/>
            <a:ext cx="1007295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id="{15551796-9430-44BB-9A13-B715C717E44B}"/>
              </a:ext>
            </a:extLst>
          </p:cNvPr>
          <p:cNvSpPr/>
          <p:nvPr userDrawn="1"/>
        </p:nvSpPr>
        <p:spPr>
          <a:xfrm>
            <a:off x="7032242" y="5834312"/>
            <a:ext cx="4251528" cy="1023688"/>
          </a:xfrm>
          <a:custGeom>
            <a:avLst/>
            <a:gdLst>
              <a:gd name="connsiteX0" fmla="*/ 1023688 w 4251528"/>
              <a:gd name="connsiteY0" fmla="*/ 0 h 1023688"/>
              <a:gd name="connsiteX1" fmla="*/ 4251528 w 4251528"/>
              <a:gd name="connsiteY1" fmla="*/ 0 h 1023688"/>
              <a:gd name="connsiteX2" fmla="*/ 4251528 w 4251528"/>
              <a:gd name="connsiteY2" fmla="*/ 1023688 h 1023688"/>
              <a:gd name="connsiteX3" fmla="*/ 0 w 4251528"/>
              <a:gd name="connsiteY3" fmla="*/ 1023688 h 102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1528" h="1023688">
                <a:moveTo>
                  <a:pt x="1023688" y="0"/>
                </a:moveTo>
                <a:lnTo>
                  <a:pt x="4251528" y="0"/>
                </a:lnTo>
                <a:lnTo>
                  <a:pt x="4251528" y="1023688"/>
                </a:lnTo>
                <a:lnTo>
                  <a:pt x="0" y="1023688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4" y="6561348"/>
            <a:ext cx="648072" cy="230864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mtClean="0">
                <a:solidFill>
                  <a:schemeClr val="bg1"/>
                </a:solidFill>
              </a:rPr>
              <a:pPr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8" name="Заголовок 12">
            <a:extLst>
              <a:ext uri="{FF2B5EF4-FFF2-40B4-BE49-F238E27FC236}">
                <a16:creationId xmlns:a16="http://schemas.microsoft.com/office/drawing/2014/main" id="{8D3E5806-E57D-47C6-9D92-8F1B66C22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629" y="1106128"/>
            <a:ext cx="6124585" cy="1116578"/>
          </a:xfrm>
        </p:spPr>
        <p:txBody>
          <a:bodyPr anchor="b">
            <a:noAutofit/>
          </a:bodyPr>
          <a:lstStyle>
            <a:lvl1pPr>
              <a:def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ru-RU" sz="4000" b="1" dirty="0">
                <a:solidFill>
                  <a:srgbClr val="FFFFFF"/>
                </a:solidFill>
              </a:rPr>
              <a:t>Титульный слай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Текст 19">
            <a:extLst>
              <a:ext uri="{FF2B5EF4-FFF2-40B4-BE49-F238E27FC236}">
                <a16:creationId xmlns:a16="http://schemas.microsoft.com/office/drawing/2014/main" id="{A0EF04F5-7844-4252-B6E1-7773238540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629" y="2394168"/>
            <a:ext cx="6124585" cy="233910"/>
          </a:xfrm>
        </p:spPr>
        <p:txBody>
          <a:bodyPr>
            <a:spAutoFit/>
          </a:bodyPr>
          <a:lstStyle>
            <a:lvl1pPr marL="180000" indent="-180000" algn="l" defTabSz="883649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ts val="200"/>
              </a:spcAft>
              <a:defRPr lang="ru-RU" sz="16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30" name="Прямая соединительная линия 9">
            <a:extLst>
              <a:ext uri="{FF2B5EF4-FFF2-40B4-BE49-F238E27FC236}">
                <a16:creationId xmlns:a16="http://schemas.microsoft.com/office/drawing/2014/main" id="{8F4FE799-1569-445B-A49F-10F0A429BC4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3863158-CE6B-4333-BB35-9848BA3996BF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bg1"/>
                </a:solidFill>
              </a:rPr>
            </a:br>
            <a:r>
              <a:rPr lang="ru-RU" sz="500" dirty="0">
                <a:solidFill>
                  <a:schemeClr val="bg1"/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09672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Фото снизу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69F1000-9498-4503-8A1B-A9F2F74796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4" name="Рисунок 23">
            <a:extLst>
              <a:ext uri="{FF2B5EF4-FFF2-40B4-BE49-F238E27FC236}">
                <a16:creationId xmlns:a16="http://schemas.microsoft.com/office/drawing/2014/main" id="{54C8E9FF-1179-4A71-BA7A-F9962932E88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96" y="3408220"/>
            <a:ext cx="12192000" cy="3449781"/>
          </a:xfrm>
          <a:custGeom>
            <a:avLst/>
            <a:gdLst>
              <a:gd name="connsiteX0" fmla="*/ 0 w 12192000"/>
              <a:gd name="connsiteY0" fmla="*/ 0 h 3449781"/>
              <a:gd name="connsiteX1" fmla="*/ 12192000 w 12192000"/>
              <a:gd name="connsiteY1" fmla="*/ 0 h 3449781"/>
              <a:gd name="connsiteX2" fmla="*/ 12192000 w 12192000"/>
              <a:gd name="connsiteY2" fmla="*/ 3449781 h 3449781"/>
              <a:gd name="connsiteX3" fmla="*/ 0 w 12192000"/>
              <a:gd name="connsiteY3" fmla="*/ 3449781 h 3449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49781">
                <a:moveTo>
                  <a:pt x="0" y="0"/>
                </a:moveTo>
                <a:lnTo>
                  <a:pt x="12192000" y="0"/>
                </a:lnTo>
                <a:lnTo>
                  <a:pt x="12192000" y="3449781"/>
                </a:lnTo>
                <a:lnTo>
                  <a:pt x="0" y="3449781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361469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0_Контент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16217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3370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54749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29364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14112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4F084705-79E6-42DD-98F2-B35FEB439D9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9979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9" name="Рисунок 14">
            <a:extLst>
              <a:ext uri="{FF2B5EF4-FFF2-40B4-BE49-F238E27FC236}">
                <a16:creationId xmlns:a16="http://schemas.microsoft.com/office/drawing/2014/main" id="{1AE48965-BA51-4431-9685-CAA105EF63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9979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9316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8652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316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65634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4F084705-79E6-42DD-98F2-B35FEB439D9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9979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8652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316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46861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Рисунок 14">
            <a:extLst>
              <a:ext uri="{FF2B5EF4-FFF2-40B4-BE49-F238E27FC236}">
                <a16:creationId xmlns:a16="http://schemas.microsoft.com/office/drawing/2014/main" id="{1AE48965-BA51-4431-9685-CAA105EF63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9979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9316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10542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 во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7" y="1092880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465" y="1092880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7" y="3736398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8465" y="3736398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25102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 с плаш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7" y="1092880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465" y="1092880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7" y="3736398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8465" y="3736398"/>
            <a:ext cx="5615545" cy="1839600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23658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54749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29364" y="3736398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33569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фото с плаш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54749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29364" y="3752273"/>
            <a:ext cx="372523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13053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0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6" y="1089026"/>
            <a:ext cx="5576400" cy="205362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768272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CA10BA21-1298-451F-8349-BF32A744B7B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4110" y="1089026"/>
            <a:ext cx="5576400" cy="291600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4E877373-7C5A-42D4-AAF7-54390307D29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4716" y="1089026"/>
            <a:ext cx="5576400" cy="2916000"/>
          </a:xfrm>
          <a:custGeom>
            <a:avLst/>
            <a:gdLst>
              <a:gd name="connsiteX0" fmla="*/ 0 w 5582523"/>
              <a:gd name="connsiteY0" fmla="*/ 0 h 2053620"/>
              <a:gd name="connsiteX1" fmla="*/ 5582523 w 5582523"/>
              <a:gd name="connsiteY1" fmla="*/ 0 h 2053620"/>
              <a:gd name="connsiteX2" fmla="*/ 5582523 w 5582523"/>
              <a:gd name="connsiteY2" fmla="*/ 2053620 h 2053620"/>
              <a:gd name="connsiteX3" fmla="*/ 0 w 5582523"/>
              <a:gd name="connsiteY3" fmla="*/ 2053620 h 20536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82523" h="2053620">
                <a:moveTo>
                  <a:pt x="0" y="0"/>
                </a:moveTo>
                <a:lnTo>
                  <a:pt x="5582523" y="0"/>
                </a:lnTo>
                <a:lnTo>
                  <a:pt x="5582523" y="2053620"/>
                </a:lnTo>
                <a:lnTo>
                  <a:pt x="0" y="205362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1108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A6239A19-9FAE-47A0-A477-EB1B77BF90A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9001945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99E91E2D-3933-4E87-80A8-CF518950025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2335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5AFA9D99-37C6-4CD3-B18D-2C7C47D2DB7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75538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62C57C21-789C-4730-8529-0A92398E04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38741" y="1089026"/>
            <a:ext cx="2782054" cy="1944000"/>
          </a:xfrm>
          <a:custGeom>
            <a:avLst/>
            <a:gdLst>
              <a:gd name="connsiteX0" fmla="*/ 0 w 2782054"/>
              <a:gd name="connsiteY0" fmla="*/ 0 h 1944000"/>
              <a:gd name="connsiteX1" fmla="*/ 2782054 w 2782054"/>
              <a:gd name="connsiteY1" fmla="*/ 0 h 1944000"/>
              <a:gd name="connsiteX2" fmla="*/ 2782054 w 2782054"/>
              <a:gd name="connsiteY2" fmla="*/ 1944000 h 1944000"/>
              <a:gd name="connsiteX3" fmla="*/ 0 w 2782054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782054" h="1944000">
                <a:moveTo>
                  <a:pt x="0" y="0"/>
                </a:moveTo>
                <a:lnTo>
                  <a:pt x="2782054" y="0"/>
                </a:lnTo>
                <a:lnTo>
                  <a:pt x="2782054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26589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ббольш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2290CE11-5240-42EA-BEE4-E19D7FE72B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310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E28F290B-8157-4FA7-81FC-055AFF55DE5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84633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1910196-5F21-43B3-B9EA-9A786B910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9" y="1089026"/>
            <a:ext cx="3599380" cy="1944000"/>
          </a:xfrm>
          <a:custGeom>
            <a:avLst/>
            <a:gdLst>
              <a:gd name="connsiteX0" fmla="*/ 0 w 3599380"/>
              <a:gd name="connsiteY0" fmla="*/ 0 h 1944000"/>
              <a:gd name="connsiteX1" fmla="*/ 3599380 w 3599380"/>
              <a:gd name="connsiteY1" fmla="*/ 0 h 1944000"/>
              <a:gd name="connsiteX2" fmla="*/ 3599380 w 3599380"/>
              <a:gd name="connsiteY2" fmla="*/ 1944000 h 1944000"/>
              <a:gd name="connsiteX3" fmla="*/ 0 w 3599380"/>
              <a:gd name="connsiteY3" fmla="*/ 1944000 h 19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9380" h="1944000">
                <a:moveTo>
                  <a:pt x="0" y="0"/>
                </a:moveTo>
                <a:lnTo>
                  <a:pt x="3599380" y="0"/>
                </a:lnTo>
                <a:lnTo>
                  <a:pt x="3599380" y="1944000"/>
                </a:lnTo>
                <a:lnTo>
                  <a:pt x="0" y="1944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18514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маленьких плаш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Рисунок 16">
            <a:extLst>
              <a:ext uri="{FF2B5EF4-FFF2-40B4-BE49-F238E27FC236}">
                <a16:creationId xmlns:a16="http://schemas.microsoft.com/office/drawing/2014/main" id="{7247B4CC-3E48-4A84-ABFD-5C8B1B8326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85461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FB2AA0CA-2D15-4343-89C4-52DC555FE64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7989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Рисунок 15">
            <a:extLst>
              <a:ext uri="{FF2B5EF4-FFF2-40B4-BE49-F238E27FC236}">
                <a16:creationId xmlns:a16="http://schemas.microsoft.com/office/drawing/2014/main" id="{E56FC753-0B69-49EA-A82C-5DE0D7689F5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6731" y="1089026"/>
            <a:ext cx="3598539" cy="2916038"/>
          </a:xfrm>
          <a:custGeom>
            <a:avLst/>
            <a:gdLst>
              <a:gd name="connsiteX0" fmla="*/ 0 w 3598539"/>
              <a:gd name="connsiteY0" fmla="*/ 0 h 5219699"/>
              <a:gd name="connsiteX1" fmla="*/ 3598539 w 3598539"/>
              <a:gd name="connsiteY1" fmla="*/ 0 h 5219699"/>
              <a:gd name="connsiteX2" fmla="*/ 3598539 w 3598539"/>
              <a:gd name="connsiteY2" fmla="*/ 5219699 h 5219699"/>
              <a:gd name="connsiteX3" fmla="*/ 0 w 3598539"/>
              <a:gd name="connsiteY3" fmla="*/ 5219699 h 5219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8539" h="5219699">
                <a:moveTo>
                  <a:pt x="0" y="0"/>
                </a:moveTo>
                <a:lnTo>
                  <a:pt x="3598539" y="0"/>
                </a:lnTo>
                <a:lnTo>
                  <a:pt x="3598539" y="5219699"/>
                </a:lnTo>
                <a:lnTo>
                  <a:pt x="0" y="5219699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7" name="Текст 3">
            <a:extLst>
              <a:ext uri="{FF2B5EF4-FFF2-40B4-BE49-F238E27FC236}">
                <a16:creationId xmlns:a16="http://schemas.microsoft.com/office/drawing/2014/main" id="{3D1015E6-0C62-4573-AAC4-989A7E0CF3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1938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4">
            <a:extLst>
              <a:ext uri="{FF2B5EF4-FFF2-40B4-BE49-F238E27FC236}">
                <a16:creationId xmlns:a16="http://schemas.microsoft.com/office/drawing/2014/main" id="{A9E75C1E-59FA-1141-88ED-C9DA5B5C20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85823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grpSp>
        <p:nvGrpSpPr>
          <p:cNvPr id="8" name="Рисунок 3">
            <a:extLst>
              <a:ext uri="{FF2B5EF4-FFF2-40B4-BE49-F238E27FC236}">
                <a16:creationId xmlns:a16="http://schemas.microsoft.com/office/drawing/2014/main" id="{D663A8F4-12F9-49EE-A891-BBC78F6B8D5D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9EB08345-EDEA-4E5F-8C73-ECA9ED5D8D65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C4E78553-2D46-4B56-A19D-70262B236649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1" name="Рисунок 10">
            <a:extLst>
              <a:ext uri="{FF2B5EF4-FFF2-40B4-BE49-F238E27FC236}">
                <a16:creationId xmlns:a16="http://schemas.microsoft.com/office/drawing/2014/main" id="{94BFC336-5EDD-43A3-A172-69C55F21CC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14" name="Текст 39">
            <a:extLst>
              <a:ext uri="{FF2B5EF4-FFF2-40B4-BE49-F238E27FC236}">
                <a16:creationId xmlns:a16="http://schemas.microsoft.com/office/drawing/2014/main" id="{7036E895-99CC-4BCE-A997-EBA227FE1B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5" name="Текст 26">
            <a:extLst>
              <a:ext uri="{FF2B5EF4-FFF2-40B4-BE49-F238E27FC236}">
                <a16:creationId xmlns:a16="http://schemas.microsoft.com/office/drawing/2014/main" id="{9178C993-2B33-4D2D-A01C-29320624F1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6" name="Текст 26">
            <a:extLst>
              <a:ext uri="{FF2B5EF4-FFF2-40B4-BE49-F238E27FC236}">
                <a16:creationId xmlns:a16="http://schemas.microsoft.com/office/drawing/2014/main" id="{618AF164-F755-4509-892D-5E791A82CF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892298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pic>
        <p:nvPicPr>
          <p:cNvPr id="4" name="Graphic 17">
            <a:extLst>
              <a:ext uri="{FF2B5EF4-FFF2-40B4-BE49-F238E27FC236}">
                <a16:creationId xmlns:a16="http://schemas.microsoft.com/office/drawing/2014/main" id="{21860EE9-1D54-4890-BA25-82EEE1F55E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3583" y="5529996"/>
            <a:ext cx="252028" cy="25202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940A7D6B-F4CD-4576-86E4-E1C99C3355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3152" y="5898188"/>
            <a:ext cx="192890" cy="192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4913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паттерном и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id="{1C442878-F4C2-4530-A4A9-D1022633EE6F}"/>
              </a:ext>
            </a:extLst>
          </p:cNvPr>
          <p:cNvSpPr/>
          <p:nvPr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id="{1080C500-E1F3-41A1-859D-E9BB186C608F}"/>
              </a:ext>
            </a:extLst>
          </p:cNvPr>
          <p:cNvSpPr/>
          <p:nvPr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id="{74A4B6E7-2238-4377-9F71-463F621D9F03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id="{9969CFF9-EA23-4816-A325-913254C85A5D}"/>
              </a:ext>
            </a:extLst>
          </p:cNvPr>
          <p:cNvSpPr/>
          <p:nvPr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id="{EBBD11E5-3800-4C06-8C9D-FA6A9A56A45A}"/>
              </a:ext>
            </a:extLst>
          </p:cNvPr>
          <p:cNvSpPr/>
          <p:nvPr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id="{91B0E24D-062D-4366-B715-F55EF2FBDB9D}"/>
              </a:ext>
            </a:extLst>
          </p:cNvPr>
          <p:cNvSpPr/>
          <p:nvPr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7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id="{BF3FCD6D-06D6-4940-8A8A-C0D3C72A5930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id="{EA90A305-B0ED-471E-AC84-D59C48E4B839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id="{091B8521-7793-4693-B444-4C03B3B4A9CD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grpSp>
        <p:nvGrpSpPr>
          <p:cNvPr id="8" name="Рисунок 3">
            <a:extLst>
              <a:ext uri="{FF2B5EF4-FFF2-40B4-BE49-F238E27FC236}">
                <a16:creationId xmlns:a16="http://schemas.microsoft.com/office/drawing/2014/main" id="{D663A8F4-12F9-49EE-A891-BBC78F6B8D5D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9EB08345-EDEA-4E5F-8C73-ECA9ED5D8D65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C4E78553-2D46-4B56-A19D-70262B236649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28" name="Текст 39">
            <a:extLst>
              <a:ext uri="{FF2B5EF4-FFF2-40B4-BE49-F238E27FC236}">
                <a16:creationId xmlns:a16="http://schemas.microsoft.com/office/drawing/2014/main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29" name="Текст 26">
            <a:extLst>
              <a:ext uri="{FF2B5EF4-FFF2-40B4-BE49-F238E27FC236}">
                <a16:creationId xmlns:a16="http://schemas.microsoft.com/office/drawing/2014/main" id="{D643C23A-21DF-4A11-9613-BE047F65424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30" name="Текст 26">
            <a:extLst>
              <a:ext uri="{FF2B5EF4-FFF2-40B4-BE49-F238E27FC236}">
                <a16:creationId xmlns:a16="http://schemas.microsoft.com/office/drawing/2014/main" id="{96C130DF-2DCF-4E01-A041-882E668D91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5425" y="589338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131" name="Рисунок 10">
            <a:extLst>
              <a:ext uri="{FF2B5EF4-FFF2-40B4-BE49-F238E27FC236}">
                <a16:creationId xmlns:a16="http://schemas.microsoft.com/office/drawing/2014/main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  <p:pic>
        <p:nvPicPr>
          <p:cNvPr id="3" name="Graphic 17">
            <a:extLst>
              <a:ext uri="{FF2B5EF4-FFF2-40B4-BE49-F238E27FC236}">
                <a16:creationId xmlns:a16="http://schemas.microsoft.com/office/drawing/2014/main" id="{2C9AA463-E793-494A-8206-B6BED4BC28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3583" y="5529996"/>
            <a:ext cx="252028" cy="252028"/>
          </a:xfrm>
          <a:prstGeom prst="rect">
            <a:avLst/>
          </a:prstGeom>
        </p:spPr>
      </p:pic>
      <p:pic>
        <p:nvPicPr>
          <p:cNvPr id="4" name="Graphic 5">
            <a:extLst>
              <a:ext uri="{FF2B5EF4-FFF2-40B4-BE49-F238E27FC236}">
                <a16:creationId xmlns:a16="http://schemas.microsoft.com/office/drawing/2014/main" id="{67FF1BB9-87BE-4A1D-B320-4EF231DE6EF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3152" y="5898188"/>
            <a:ext cx="192890" cy="192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371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176427" cy="1929759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accent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0" name="Текст 26">
            <a:extLst>
              <a:ext uri="{FF2B5EF4-FFF2-40B4-BE49-F238E27FC236}">
                <a16:creationId xmlns:a16="http://schemas.microsoft.com/office/drawing/2014/main" id="{C6420719-76EA-45F3-B4D3-EBCB4430D9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555367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11" name="Текст 26">
            <a:extLst>
              <a:ext uri="{FF2B5EF4-FFF2-40B4-BE49-F238E27FC236}">
                <a16:creationId xmlns:a16="http://schemas.microsoft.com/office/drawing/2014/main" id="{08094B0E-B9DC-41A9-8742-E62D5644B6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589338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sp>
        <p:nvSpPr>
          <p:cNvPr id="34" name="Полилиния: фигура 33">
            <a:extLst>
              <a:ext uri="{FF2B5EF4-FFF2-40B4-BE49-F238E27FC236}">
                <a16:creationId xmlns:a16="http://schemas.microsoft.com/office/drawing/2014/main" id="{E705B174-2BCB-475F-B5F7-2AC86EA893A5}"/>
              </a:ext>
            </a:extLst>
          </p:cNvPr>
          <p:cNvSpPr/>
          <p:nvPr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Полилиния: фигура 36">
            <a:extLst>
              <a:ext uri="{FF2B5EF4-FFF2-40B4-BE49-F238E27FC236}">
                <a16:creationId xmlns:a16="http://schemas.microsoft.com/office/drawing/2014/main" id="{0279107F-963C-4D85-BC66-580B5F59AE9D}"/>
              </a:ext>
            </a:extLst>
          </p:cNvPr>
          <p:cNvSpPr/>
          <p:nvPr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1AA05226-25F0-4779-B93C-63C888129E15}"/>
              </a:ext>
            </a:extLst>
          </p:cNvPr>
          <p:cNvSpPr/>
          <p:nvPr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Полилиния: фигура 16">
            <a:extLst>
              <a:ext uri="{FF2B5EF4-FFF2-40B4-BE49-F238E27FC236}">
                <a16:creationId xmlns:a16="http://schemas.microsoft.com/office/drawing/2014/main" id="{5E0FE2BA-B08F-41AC-B695-558ED857DAAF}"/>
              </a:ext>
            </a:extLst>
          </p:cNvPr>
          <p:cNvSpPr/>
          <p:nvPr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F54BF84A-3A49-46E7-BBCD-BB696C95E90B}"/>
              </a:ext>
            </a:extLst>
          </p:cNvPr>
          <p:cNvSpPr/>
          <p:nvPr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Полилиния: фигура 27">
            <a:extLst>
              <a:ext uri="{FF2B5EF4-FFF2-40B4-BE49-F238E27FC236}">
                <a16:creationId xmlns:a16="http://schemas.microsoft.com/office/drawing/2014/main" id="{E9AB1E05-C0C5-4FDD-B60D-054B6347BF52}"/>
              </a:ext>
            </a:extLst>
          </p:cNvPr>
          <p:cNvSpPr/>
          <p:nvPr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B4A30386-E577-43D2-B52B-1B7FBAD6C03D}"/>
              </a:ext>
            </a:extLst>
          </p:cNvPr>
          <p:cNvSpPr/>
          <p:nvPr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Полилиния: фигура 30">
            <a:extLst>
              <a:ext uri="{FF2B5EF4-FFF2-40B4-BE49-F238E27FC236}">
                <a16:creationId xmlns:a16="http://schemas.microsoft.com/office/drawing/2014/main" id="{7EDCF66B-6839-42A8-8548-EEB6D7A54DD9}"/>
              </a:ext>
            </a:extLst>
          </p:cNvPr>
          <p:cNvSpPr/>
          <p:nvPr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Полилиния: фигура 39">
            <a:extLst>
              <a:ext uri="{FF2B5EF4-FFF2-40B4-BE49-F238E27FC236}">
                <a16:creationId xmlns:a16="http://schemas.microsoft.com/office/drawing/2014/main" id="{9E8F511C-6A5E-4D3B-B61B-7480067C96BF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3" name="Полилиния: фигура 42">
            <a:extLst>
              <a:ext uri="{FF2B5EF4-FFF2-40B4-BE49-F238E27FC236}">
                <a16:creationId xmlns:a16="http://schemas.microsoft.com/office/drawing/2014/main" id="{18D1C764-45FD-4989-8FCD-7756DC96AC35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accent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2" name="Graphic 17">
            <a:extLst>
              <a:ext uri="{FF2B5EF4-FFF2-40B4-BE49-F238E27FC236}">
                <a16:creationId xmlns:a16="http://schemas.microsoft.com/office/drawing/2014/main" id="{59EEFF78-1504-4AE7-B6D5-04ACF1E9B3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3583" y="5529996"/>
            <a:ext cx="252028" cy="252028"/>
          </a:xfrm>
          <a:prstGeom prst="rect">
            <a:avLst/>
          </a:prstGeom>
        </p:spPr>
      </p:pic>
      <p:pic>
        <p:nvPicPr>
          <p:cNvPr id="3" name="Graphic 5">
            <a:extLst>
              <a:ext uri="{FF2B5EF4-FFF2-40B4-BE49-F238E27FC236}">
                <a16:creationId xmlns:a16="http://schemas.microsoft.com/office/drawing/2014/main" id="{5514F9D7-2A08-456F-9B5F-67F89D71101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3152" y="5898188"/>
            <a:ext cx="192890" cy="192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555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4F084705-79E6-42DD-98F2-B35FEB439D9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9979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9" name="Рисунок 14">
            <a:extLst>
              <a:ext uri="{FF2B5EF4-FFF2-40B4-BE49-F238E27FC236}">
                <a16:creationId xmlns:a16="http://schemas.microsoft.com/office/drawing/2014/main" id="{1AE48965-BA51-4431-9685-CAA105EF63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9979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9316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8652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316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8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04784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кругов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888508"/>
            <a:ext cx="6176427" cy="1929759"/>
          </a:xfrm>
        </p:spPr>
        <p:txBody>
          <a:bodyPr wrap="square" anchor="ctr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600" b="1">
                <a:solidFill>
                  <a:schemeClr val="accent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accent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3" name="Дуга 22">
            <a:extLst>
              <a:ext uri="{FF2B5EF4-FFF2-40B4-BE49-F238E27FC236}">
                <a16:creationId xmlns:a16="http://schemas.microsoft.com/office/drawing/2014/main" id="{4C3B535E-684D-426C-8ADE-C03140386582}"/>
              </a:ext>
            </a:extLst>
          </p:cNvPr>
          <p:cNvSpPr/>
          <p:nvPr/>
        </p:nvSpPr>
        <p:spPr bwMode="auto">
          <a:xfrm rot="3600000">
            <a:off x="10171446" y="2477067"/>
            <a:ext cx="2410528" cy="2410528"/>
          </a:xfrm>
          <a:prstGeom prst="arc">
            <a:avLst>
              <a:gd name="adj1" fmla="val 10194380"/>
              <a:gd name="adj2" fmla="val 19371489"/>
            </a:avLst>
          </a:prstGeom>
          <a:noFill/>
          <a:ln w="6127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Дуга 23">
            <a:extLst>
              <a:ext uri="{FF2B5EF4-FFF2-40B4-BE49-F238E27FC236}">
                <a16:creationId xmlns:a16="http://schemas.microsoft.com/office/drawing/2014/main" id="{10AC72FE-A8ED-47AA-A6B1-13C20BE18903}"/>
              </a:ext>
            </a:extLst>
          </p:cNvPr>
          <p:cNvSpPr/>
          <p:nvPr/>
        </p:nvSpPr>
        <p:spPr bwMode="auto">
          <a:xfrm rot="3600000">
            <a:off x="9587597" y="1884753"/>
            <a:ext cx="3604045" cy="3604045"/>
          </a:xfrm>
          <a:prstGeom prst="arc">
            <a:avLst>
              <a:gd name="adj1" fmla="val 7022578"/>
              <a:gd name="adj2" fmla="val 18021140"/>
            </a:avLst>
          </a:prstGeom>
          <a:noFill/>
          <a:ln w="612775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Дуга 25">
            <a:extLst>
              <a:ext uri="{FF2B5EF4-FFF2-40B4-BE49-F238E27FC236}">
                <a16:creationId xmlns:a16="http://schemas.microsoft.com/office/drawing/2014/main" id="{96BE5786-7306-4265-81AC-40FA7DBE2D77}"/>
              </a:ext>
            </a:extLst>
          </p:cNvPr>
          <p:cNvSpPr/>
          <p:nvPr/>
        </p:nvSpPr>
        <p:spPr bwMode="auto">
          <a:xfrm rot="3600000">
            <a:off x="8979579" y="1276735"/>
            <a:ext cx="4820082" cy="4820082"/>
          </a:xfrm>
          <a:prstGeom prst="arc">
            <a:avLst>
              <a:gd name="adj1" fmla="val 20794557"/>
              <a:gd name="adj2" fmla="val 5166418"/>
            </a:avLst>
          </a:prstGeom>
          <a:noFill/>
          <a:ln w="612775" cap="flat" cmpd="sng" algn="ctr">
            <a:gradFill>
              <a:gsLst>
                <a:gs pos="28416">
                  <a:srgbClr val="4F5657"/>
                </a:gs>
                <a:gs pos="0">
                  <a:srgbClr val="C9C8C9"/>
                </a:gs>
                <a:gs pos="83000">
                  <a:srgbClr val="D6D6D8"/>
                </a:gs>
                <a:gs pos="100000">
                  <a:srgbClr val="848A90"/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Дуга 26">
            <a:extLst>
              <a:ext uri="{FF2B5EF4-FFF2-40B4-BE49-F238E27FC236}">
                <a16:creationId xmlns:a16="http://schemas.microsoft.com/office/drawing/2014/main" id="{6BE4109A-C517-4E4F-BD7F-48E0B181EFAF}"/>
              </a:ext>
            </a:extLst>
          </p:cNvPr>
          <p:cNvSpPr/>
          <p:nvPr/>
        </p:nvSpPr>
        <p:spPr bwMode="auto">
          <a:xfrm rot="3600000">
            <a:off x="7744703" y="41859"/>
            <a:ext cx="7289835" cy="7289835"/>
          </a:xfrm>
          <a:prstGeom prst="arc">
            <a:avLst>
              <a:gd name="adj1" fmla="val 7093785"/>
              <a:gd name="adj2" fmla="val 13987603"/>
            </a:avLst>
          </a:prstGeom>
          <a:noFill/>
          <a:ln w="6127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" name="Дуга 28">
            <a:extLst>
              <a:ext uri="{FF2B5EF4-FFF2-40B4-BE49-F238E27FC236}">
                <a16:creationId xmlns:a16="http://schemas.microsoft.com/office/drawing/2014/main" id="{740777A4-C028-41DE-B040-61B8A5E3824F}"/>
              </a:ext>
            </a:extLst>
          </p:cNvPr>
          <p:cNvSpPr/>
          <p:nvPr userDrawn="1"/>
        </p:nvSpPr>
        <p:spPr bwMode="auto">
          <a:xfrm rot="3600000">
            <a:off x="8362248" y="659404"/>
            <a:ext cx="6054745" cy="6054745"/>
          </a:xfrm>
          <a:prstGeom prst="arc">
            <a:avLst>
              <a:gd name="adj1" fmla="val 388953"/>
              <a:gd name="adj2" fmla="val 6187821"/>
            </a:avLst>
          </a:prstGeom>
          <a:noFill/>
          <a:ln w="6127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2" name="Дуга 31">
            <a:extLst>
              <a:ext uri="{FF2B5EF4-FFF2-40B4-BE49-F238E27FC236}">
                <a16:creationId xmlns:a16="http://schemas.microsoft.com/office/drawing/2014/main" id="{16FBF844-8C37-4703-8E8B-30B62A01BCCB}"/>
              </a:ext>
            </a:extLst>
          </p:cNvPr>
          <p:cNvSpPr/>
          <p:nvPr userDrawn="1"/>
        </p:nvSpPr>
        <p:spPr bwMode="auto">
          <a:xfrm rot="3600000">
            <a:off x="10785414" y="3091035"/>
            <a:ext cx="1182592" cy="1182592"/>
          </a:xfrm>
          <a:prstGeom prst="arc">
            <a:avLst>
              <a:gd name="adj1" fmla="val 15067993"/>
              <a:gd name="adj2" fmla="val 3529940"/>
            </a:avLst>
          </a:prstGeom>
          <a:noFill/>
          <a:ln w="612775" cap="flat" cmpd="sng" algn="ctr">
            <a:gradFill>
              <a:gsLst>
                <a:gs pos="28416">
                  <a:srgbClr val="4F5657"/>
                </a:gs>
                <a:gs pos="0">
                  <a:srgbClr val="C9C8C9"/>
                </a:gs>
                <a:gs pos="83000">
                  <a:srgbClr val="D6D6D8"/>
                </a:gs>
                <a:gs pos="100000">
                  <a:srgbClr val="848A90"/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lvl="0"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6586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ение с диагональной суперграфик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39">
            <a:extLst>
              <a:ext uri="{FF2B5EF4-FFF2-40B4-BE49-F238E27FC236}">
                <a16:creationId xmlns:a16="http://schemas.microsoft.com/office/drawing/2014/main" id="{906337A7-3922-41EA-AE84-40C710B177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888508"/>
            <a:ext cx="6176427" cy="1929759"/>
          </a:xfrm>
        </p:spPr>
        <p:txBody>
          <a:bodyPr wrap="square" anchor="ctr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6600" b="1">
                <a:solidFill>
                  <a:schemeClr val="accent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Спасибо</a:t>
            </a:r>
            <a:br>
              <a:rPr lang="ru-RU" dirty="0"/>
            </a:br>
            <a:r>
              <a:rPr lang="ru-RU" dirty="0"/>
              <a:t>за внимание</a:t>
            </a:r>
          </a:p>
        </p:txBody>
      </p:sp>
      <p:grpSp>
        <p:nvGrpSpPr>
          <p:cNvPr id="44" name="Рисунок 3">
            <a:extLst>
              <a:ext uri="{FF2B5EF4-FFF2-40B4-BE49-F238E27FC236}">
                <a16:creationId xmlns:a16="http://schemas.microsoft.com/office/drawing/2014/main" id="{D180CE2B-EF74-404E-AEC2-068B5121A108}"/>
              </a:ext>
            </a:extLst>
          </p:cNvPr>
          <p:cNvGrpSpPr/>
          <p:nvPr userDrawn="1"/>
        </p:nvGrpSpPr>
        <p:grpSpPr>
          <a:xfrm>
            <a:off x="403202" y="471830"/>
            <a:ext cx="3161334" cy="984619"/>
            <a:chOff x="2690812" y="2366100"/>
            <a:chExt cx="6807279" cy="2120173"/>
          </a:xfrm>
          <a:solidFill>
            <a:schemeClr val="accent2"/>
          </a:solidFill>
        </p:grpSpPr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4C8E1AB0-DFE9-4B85-A206-432C19BB3BAB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DC722773-69CD-4E93-BFEC-1B27CDCA6A78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" name="Полилиния: фигура 1">
            <a:extLst>
              <a:ext uri="{FF2B5EF4-FFF2-40B4-BE49-F238E27FC236}">
                <a16:creationId xmlns:a16="http://schemas.microsoft.com/office/drawing/2014/main" id="{DB8C6F4E-80AE-4CB3-82F3-E0629F85E98A}"/>
              </a:ext>
            </a:extLst>
          </p:cNvPr>
          <p:cNvSpPr/>
          <p:nvPr userDrawn="1"/>
        </p:nvSpPr>
        <p:spPr>
          <a:xfrm>
            <a:off x="11683685" y="942401"/>
            <a:ext cx="508315" cy="508315"/>
          </a:xfrm>
          <a:custGeom>
            <a:avLst/>
            <a:gdLst>
              <a:gd name="connsiteX0" fmla="*/ 508315 w 508315"/>
              <a:gd name="connsiteY0" fmla="*/ 0 h 508315"/>
              <a:gd name="connsiteX1" fmla="*/ 508315 w 508315"/>
              <a:gd name="connsiteY1" fmla="*/ 508315 h 508315"/>
              <a:gd name="connsiteX2" fmla="*/ 0 w 508315"/>
              <a:gd name="connsiteY2" fmla="*/ 508315 h 5083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8315" h="508315">
                <a:moveTo>
                  <a:pt x="508315" y="0"/>
                </a:moveTo>
                <a:lnTo>
                  <a:pt x="508315" y="508315"/>
                </a:lnTo>
                <a:lnTo>
                  <a:pt x="0" y="5083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Полилиния: фигура 2">
            <a:extLst>
              <a:ext uri="{FF2B5EF4-FFF2-40B4-BE49-F238E27FC236}">
                <a16:creationId xmlns:a16="http://schemas.microsoft.com/office/drawing/2014/main" id="{CB3A444A-E5F0-4FFD-9DC1-CD7FB326DAB6}"/>
              </a:ext>
            </a:extLst>
          </p:cNvPr>
          <p:cNvSpPr/>
          <p:nvPr userDrawn="1"/>
        </p:nvSpPr>
        <p:spPr>
          <a:xfrm>
            <a:off x="10317983" y="1"/>
            <a:ext cx="1874017" cy="1450715"/>
          </a:xfrm>
          <a:custGeom>
            <a:avLst/>
            <a:gdLst>
              <a:gd name="connsiteX0" fmla="*/ 1450715 w 1874017"/>
              <a:gd name="connsiteY0" fmla="*/ 0 h 1450715"/>
              <a:gd name="connsiteX1" fmla="*/ 1874017 w 1874017"/>
              <a:gd name="connsiteY1" fmla="*/ 0 h 1450715"/>
              <a:gd name="connsiteX2" fmla="*/ 1874017 w 1874017"/>
              <a:gd name="connsiteY2" fmla="*/ 259549 h 1450715"/>
              <a:gd name="connsiteX3" fmla="*/ 682851 w 1874017"/>
              <a:gd name="connsiteY3" fmla="*/ 1450715 h 1450715"/>
              <a:gd name="connsiteX4" fmla="*/ 0 w 1874017"/>
              <a:gd name="connsiteY4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450715">
                <a:moveTo>
                  <a:pt x="1450715" y="0"/>
                </a:moveTo>
                <a:lnTo>
                  <a:pt x="1874017" y="0"/>
                </a:lnTo>
                <a:lnTo>
                  <a:pt x="1874017" y="259549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" name="Полилиния: фигура 3">
            <a:extLst>
              <a:ext uri="{FF2B5EF4-FFF2-40B4-BE49-F238E27FC236}">
                <a16:creationId xmlns:a16="http://schemas.microsoft.com/office/drawing/2014/main" id="{8865A60B-ACD4-45F8-AF22-1F5B2DA9790D}"/>
              </a:ext>
            </a:extLst>
          </p:cNvPr>
          <p:cNvSpPr/>
          <p:nvPr userDrawn="1"/>
        </p:nvSpPr>
        <p:spPr>
          <a:xfrm>
            <a:off x="8952280" y="3840694"/>
            <a:ext cx="2389978" cy="1707128"/>
          </a:xfrm>
          <a:custGeom>
            <a:avLst/>
            <a:gdLst>
              <a:gd name="connsiteX0" fmla="*/ 1558925 w 2182494"/>
              <a:gd name="connsiteY0" fmla="*/ 0 h 1558925"/>
              <a:gd name="connsiteX1" fmla="*/ 0 w 2182494"/>
              <a:gd name="connsiteY1" fmla="*/ 1558925 h 1558925"/>
              <a:gd name="connsiteX2" fmla="*/ 623570 w 2182494"/>
              <a:gd name="connsiteY2" fmla="*/ 1558925 h 1558925"/>
              <a:gd name="connsiteX3" fmla="*/ 2182495 w 2182494"/>
              <a:gd name="connsiteY3" fmla="*/ 0 h 155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82494" h="1558925">
                <a:moveTo>
                  <a:pt x="1558925" y="0"/>
                </a:moveTo>
                <a:lnTo>
                  <a:pt x="0" y="1558925"/>
                </a:lnTo>
                <a:lnTo>
                  <a:pt x="623570" y="1558925"/>
                </a:lnTo>
                <a:lnTo>
                  <a:pt x="218249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Полилиния: фигура 4">
            <a:extLst>
              <a:ext uri="{FF2B5EF4-FFF2-40B4-BE49-F238E27FC236}">
                <a16:creationId xmlns:a16="http://schemas.microsoft.com/office/drawing/2014/main" id="{7836FD41-14BD-4C48-9332-1ED0825F86BF}"/>
              </a:ext>
            </a:extLst>
          </p:cNvPr>
          <p:cNvSpPr/>
          <p:nvPr userDrawn="1"/>
        </p:nvSpPr>
        <p:spPr>
          <a:xfrm>
            <a:off x="8604597" y="3840694"/>
            <a:ext cx="6258" cy="6259"/>
          </a:xfrm>
          <a:custGeom>
            <a:avLst/>
            <a:gdLst>
              <a:gd name="connsiteX0" fmla="*/ 0 w 5714"/>
              <a:gd name="connsiteY0" fmla="*/ 0 h 5715"/>
              <a:gd name="connsiteX1" fmla="*/ 0 w 5714"/>
              <a:gd name="connsiteY1" fmla="*/ 5715 h 5715"/>
              <a:gd name="connsiteX2" fmla="*/ 5715 w 5714"/>
              <a:gd name="connsiteY2" fmla="*/ 0 h 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714" h="5715">
                <a:moveTo>
                  <a:pt x="0" y="0"/>
                </a:moveTo>
                <a:lnTo>
                  <a:pt x="0" y="5715"/>
                </a:lnTo>
                <a:lnTo>
                  <a:pt x="5715" y="0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олилиния: фигура 5">
            <a:extLst>
              <a:ext uri="{FF2B5EF4-FFF2-40B4-BE49-F238E27FC236}">
                <a16:creationId xmlns:a16="http://schemas.microsoft.com/office/drawing/2014/main" id="{18EA802B-A64D-4D87-B785-A9C1BBD630BE}"/>
              </a:ext>
            </a:extLst>
          </p:cNvPr>
          <p:cNvSpPr/>
          <p:nvPr userDrawn="1"/>
        </p:nvSpPr>
        <p:spPr>
          <a:xfrm>
            <a:off x="10317983" y="3840694"/>
            <a:ext cx="1874017" cy="1707128"/>
          </a:xfrm>
          <a:custGeom>
            <a:avLst/>
            <a:gdLst>
              <a:gd name="connsiteX0" fmla="*/ 1707128 w 1874017"/>
              <a:gd name="connsiteY0" fmla="*/ 0 h 1707128"/>
              <a:gd name="connsiteX1" fmla="*/ 1874017 w 1874017"/>
              <a:gd name="connsiteY1" fmla="*/ 0 h 1707128"/>
              <a:gd name="connsiteX2" fmla="*/ 1874017 w 1874017"/>
              <a:gd name="connsiteY2" fmla="*/ 515477 h 1707128"/>
              <a:gd name="connsiteX3" fmla="*/ 682851 w 1874017"/>
              <a:gd name="connsiteY3" fmla="*/ 1707128 h 1707128"/>
              <a:gd name="connsiteX4" fmla="*/ 0 w 1874017"/>
              <a:gd name="connsiteY4" fmla="*/ 1707128 h 17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74017" h="1707128">
                <a:moveTo>
                  <a:pt x="1707128" y="0"/>
                </a:moveTo>
                <a:lnTo>
                  <a:pt x="1874017" y="0"/>
                </a:lnTo>
                <a:lnTo>
                  <a:pt x="1874017" y="515477"/>
                </a:lnTo>
                <a:lnTo>
                  <a:pt x="682851" y="1707128"/>
                </a:lnTo>
                <a:lnTo>
                  <a:pt x="0" y="1707128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олилиния: фигура 6">
            <a:extLst>
              <a:ext uri="{FF2B5EF4-FFF2-40B4-BE49-F238E27FC236}">
                <a16:creationId xmlns:a16="http://schemas.microsoft.com/office/drawing/2014/main" id="{8565576C-67AB-4679-AB14-104440A43FD3}"/>
              </a:ext>
            </a:extLst>
          </p:cNvPr>
          <p:cNvSpPr/>
          <p:nvPr userDrawn="1"/>
        </p:nvSpPr>
        <p:spPr>
          <a:xfrm>
            <a:off x="11342259" y="2990705"/>
            <a:ext cx="849741" cy="849988"/>
          </a:xfrm>
          <a:custGeom>
            <a:avLst/>
            <a:gdLst>
              <a:gd name="connsiteX0" fmla="*/ 849741 w 849741"/>
              <a:gd name="connsiteY0" fmla="*/ 0 h 849988"/>
              <a:gd name="connsiteX1" fmla="*/ 849741 w 849741"/>
              <a:gd name="connsiteY1" fmla="*/ 683050 h 849988"/>
              <a:gd name="connsiteX2" fmla="*/ 682851 w 849741"/>
              <a:gd name="connsiteY2" fmla="*/ 849988 h 849988"/>
              <a:gd name="connsiteX3" fmla="*/ 0 w 849741"/>
              <a:gd name="connsiteY3" fmla="*/ 849988 h 8499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9741" h="849988">
                <a:moveTo>
                  <a:pt x="849741" y="0"/>
                </a:moveTo>
                <a:lnTo>
                  <a:pt x="849741" y="683050"/>
                </a:lnTo>
                <a:lnTo>
                  <a:pt x="682851" y="849988"/>
                </a:lnTo>
                <a:lnTo>
                  <a:pt x="0" y="849988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DF96CDC5-1835-4B1A-B51F-B61DD3293AA9}"/>
              </a:ext>
            </a:extLst>
          </p:cNvPr>
          <p:cNvSpPr/>
          <p:nvPr userDrawn="1"/>
        </p:nvSpPr>
        <p:spPr>
          <a:xfrm>
            <a:off x="8610856" y="1450714"/>
            <a:ext cx="3072829" cy="2389979"/>
          </a:xfrm>
          <a:custGeom>
            <a:avLst/>
            <a:gdLst>
              <a:gd name="connsiteX0" fmla="*/ 2182495 w 2806064"/>
              <a:gd name="connsiteY0" fmla="*/ 0 h 2182495"/>
              <a:gd name="connsiteX1" fmla="*/ 0 w 2806064"/>
              <a:gd name="connsiteY1" fmla="*/ 2182495 h 2182495"/>
              <a:gd name="connsiteX2" fmla="*/ 623570 w 2806064"/>
              <a:gd name="connsiteY2" fmla="*/ 2182495 h 2182495"/>
              <a:gd name="connsiteX3" fmla="*/ 2806065 w 2806064"/>
              <a:gd name="connsiteY3" fmla="*/ 0 h 21824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06064" h="2182495">
                <a:moveTo>
                  <a:pt x="2182495" y="0"/>
                </a:moveTo>
                <a:lnTo>
                  <a:pt x="0" y="2182495"/>
                </a:lnTo>
                <a:lnTo>
                  <a:pt x="623570" y="2182495"/>
                </a:lnTo>
                <a:lnTo>
                  <a:pt x="2806065" y="0"/>
                </a:lnTo>
                <a:close/>
              </a:path>
            </a:pathLst>
          </a:custGeom>
          <a:gradFill>
            <a:gsLst>
              <a:gs pos="71600">
                <a:srgbClr val="DEDEDF"/>
              </a:gs>
              <a:gs pos="29000">
                <a:srgbClr val="505758"/>
              </a:gs>
              <a:gs pos="0">
                <a:srgbClr val="C2C1BF"/>
              </a:gs>
              <a:gs pos="100000">
                <a:srgbClr val="BFC1C4"/>
              </a:gs>
            </a:gsLst>
            <a:lin ang="18900000" scaled="1"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A9776F79-468B-44C6-8B11-6209C717CA67}"/>
              </a:ext>
            </a:extLst>
          </p:cNvPr>
          <p:cNvSpPr/>
          <p:nvPr userDrawn="1"/>
        </p:nvSpPr>
        <p:spPr>
          <a:xfrm>
            <a:off x="9957781" y="1606474"/>
            <a:ext cx="2234219" cy="2234219"/>
          </a:xfrm>
          <a:custGeom>
            <a:avLst/>
            <a:gdLst>
              <a:gd name="connsiteX0" fmla="*/ 2234219 w 2234219"/>
              <a:gd name="connsiteY0" fmla="*/ 0 h 2234219"/>
              <a:gd name="connsiteX1" fmla="*/ 2234219 w 2234219"/>
              <a:gd name="connsiteY1" fmla="*/ 682851 h 2234219"/>
              <a:gd name="connsiteX2" fmla="*/ 682851 w 2234219"/>
              <a:gd name="connsiteY2" fmla="*/ 2234219 h 2234219"/>
              <a:gd name="connsiteX3" fmla="*/ 0 w 2234219"/>
              <a:gd name="connsiteY3" fmla="*/ 2234219 h 2234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34219" h="2234219">
                <a:moveTo>
                  <a:pt x="2234219" y="0"/>
                </a:moveTo>
                <a:lnTo>
                  <a:pt x="2234219" y="682851"/>
                </a:lnTo>
                <a:lnTo>
                  <a:pt x="682851" y="2234219"/>
                </a:lnTo>
                <a:lnTo>
                  <a:pt x="0" y="2234219"/>
                </a:lnTo>
                <a:close/>
              </a:path>
            </a:pathLst>
          </a:custGeom>
          <a:solidFill>
            <a:srgbClr val="E52421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7C1924A7-5BBA-4DD5-9D00-1D7C79A565F0}"/>
              </a:ext>
            </a:extLst>
          </p:cNvPr>
          <p:cNvSpPr/>
          <p:nvPr userDrawn="1"/>
        </p:nvSpPr>
        <p:spPr>
          <a:xfrm>
            <a:off x="8985623" y="1"/>
            <a:ext cx="2133566" cy="1450715"/>
          </a:xfrm>
          <a:custGeom>
            <a:avLst/>
            <a:gdLst>
              <a:gd name="connsiteX0" fmla="*/ 1450715 w 2133566"/>
              <a:gd name="connsiteY0" fmla="*/ 0 h 1450715"/>
              <a:gd name="connsiteX1" fmla="*/ 2133566 w 2133566"/>
              <a:gd name="connsiteY1" fmla="*/ 0 h 1450715"/>
              <a:gd name="connsiteX2" fmla="*/ 682851 w 2133566"/>
              <a:gd name="connsiteY2" fmla="*/ 1450715 h 1450715"/>
              <a:gd name="connsiteX3" fmla="*/ 0 w 2133566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6" h="1450715">
                <a:moveTo>
                  <a:pt x="1450715" y="0"/>
                </a:moveTo>
                <a:lnTo>
                  <a:pt x="2133566" y="0"/>
                </a:lnTo>
                <a:lnTo>
                  <a:pt x="682851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" name="Полилиния: фигура 12">
            <a:extLst>
              <a:ext uri="{FF2B5EF4-FFF2-40B4-BE49-F238E27FC236}">
                <a16:creationId xmlns:a16="http://schemas.microsoft.com/office/drawing/2014/main" id="{44E97757-9271-4211-9749-1E9D34CAD44F}"/>
              </a:ext>
            </a:extLst>
          </p:cNvPr>
          <p:cNvSpPr/>
          <p:nvPr userDrawn="1"/>
        </p:nvSpPr>
        <p:spPr>
          <a:xfrm>
            <a:off x="7676101" y="1"/>
            <a:ext cx="2133567" cy="1450715"/>
          </a:xfrm>
          <a:custGeom>
            <a:avLst/>
            <a:gdLst>
              <a:gd name="connsiteX0" fmla="*/ 1450716 w 2133567"/>
              <a:gd name="connsiteY0" fmla="*/ 0 h 1450715"/>
              <a:gd name="connsiteX1" fmla="*/ 2133567 w 2133567"/>
              <a:gd name="connsiteY1" fmla="*/ 0 h 1450715"/>
              <a:gd name="connsiteX2" fmla="*/ 682852 w 2133567"/>
              <a:gd name="connsiteY2" fmla="*/ 1450715 h 1450715"/>
              <a:gd name="connsiteX3" fmla="*/ 0 w 2133567"/>
              <a:gd name="connsiteY3" fmla="*/ 1450715 h 1450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3567" h="1450715">
                <a:moveTo>
                  <a:pt x="1450716" y="0"/>
                </a:moveTo>
                <a:lnTo>
                  <a:pt x="2133567" y="0"/>
                </a:lnTo>
                <a:lnTo>
                  <a:pt x="682852" y="1450715"/>
                </a:lnTo>
                <a:lnTo>
                  <a:pt x="0" y="1450715"/>
                </a:lnTo>
                <a:close/>
              </a:path>
            </a:pathLst>
          </a:custGeom>
          <a:solidFill>
            <a:srgbClr val="002F6E"/>
          </a:solidFill>
          <a:ln w="635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b="0" i="0" u="none" strike="noStrike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01720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 диагональной суперграфикой синий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Рисунок 3">
            <a:extLst>
              <a:ext uri="{FF2B5EF4-FFF2-40B4-BE49-F238E27FC236}">
                <a16:creationId xmlns:a16="http://schemas.microsoft.com/office/drawing/2014/main" id="{3AF7360D-0ACE-49A4-BFCB-664580DCE466}"/>
              </a:ext>
            </a:extLst>
          </p:cNvPr>
          <p:cNvGrpSpPr/>
          <p:nvPr userDrawn="1"/>
        </p:nvGrpSpPr>
        <p:grpSpPr>
          <a:xfrm>
            <a:off x="403201" y="647761"/>
            <a:ext cx="3352539" cy="1044171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3" name="Полилиния: фигура 2">
              <a:extLst>
                <a:ext uri="{FF2B5EF4-FFF2-40B4-BE49-F238E27FC236}">
                  <a16:creationId xmlns:a16="http://schemas.microsoft.com/office/drawing/2014/main" id="{F6481FE0-98D1-47DB-A94C-AC28AB728833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Полилиния: фигура 3">
              <a:extLst>
                <a:ext uri="{FF2B5EF4-FFF2-40B4-BE49-F238E27FC236}">
                  <a16:creationId xmlns:a16="http://schemas.microsoft.com/office/drawing/2014/main" id="{B11FC44A-196E-443A-B14F-64CB50F4802A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8F4C8739-0D64-4D24-9292-4DA86A346971}"/>
              </a:ext>
            </a:extLst>
          </p:cNvPr>
          <p:cNvGrpSpPr/>
          <p:nvPr userDrawn="1"/>
        </p:nvGrpSpPr>
        <p:grpSpPr>
          <a:xfrm>
            <a:off x="7717485" y="-1409700"/>
            <a:ext cx="7898715" cy="8267700"/>
            <a:chOff x="7717485" y="-1409700"/>
            <a:chExt cx="7898715" cy="8267700"/>
          </a:xfrm>
        </p:grpSpPr>
        <p:sp>
          <p:nvSpPr>
            <p:cNvPr id="6" name="Полилиния: фигура 5">
              <a:extLst>
                <a:ext uri="{FF2B5EF4-FFF2-40B4-BE49-F238E27FC236}">
                  <a16:creationId xmlns:a16="http://schemas.microsoft.com/office/drawing/2014/main" id="{0A7705CA-8C8A-4C11-8D88-32DCA6E8700D}"/>
                </a:ext>
              </a:extLst>
            </p:cNvPr>
            <p:cNvSpPr/>
            <p:nvPr/>
          </p:nvSpPr>
          <p:spPr>
            <a:xfrm>
              <a:off x="11107241" y="-1409700"/>
              <a:ext cx="4508959" cy="3757209"/>
            </a:xfrm>
            <a:custGeom>
              <a:avLst/>
              <a:gdLst>
                <a:gd name="connsiteX0" fmla="*/ 3116580 w 3740150"/>
                <a:gd name="connsiteY0" fmla="*/ 0 h 3116579"/>
                <a:gd name="connsiteX1" fmla="*/ 0 w 3740150"/>
                <a:gd name="connsiteY1" fmla="*/ 3116580 h 3116579"/>
                <a:gd name="connsiteX2" fmla="*/ 623570 w 3740150"/>
                <a:gd name="connsiteY2" fmla="*/ 3116580 h 3116579"/>
                <a:gd name="connsiteX3" fmla="*/ 3740150 w 3740150"/>
                <a:gd name="connsiteY3" fmla="*/ 0 h 311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40150" h="3116579">
                  <a:moveTo>
                    <a:pt x="3116580" y="0"/>
                  </a:moveTo>
                  <a:lnTo>
                    <a:pt x="0" y="3116580"/>
                  </a:lnTo>
                  <a:lnTo>
                    <a:pt x="623570" y="3116580"/>
                  </a:lnTo>
                  <a:lnTo>
                    <a:pt x="3740150" y="0"/>
                  </a:lnTo>
                  <a:close/>
                </a:path>
              </a:pathLst>
            </a:custGeom>
            <a:solidFill>
              <a:srgbClr val="002F6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" name="Полилиния: фигура 6">
              <a:extLst>
                <a:ext uri="{FF2B5EF4-FFF2-40B4-BE49-F238E27FC236}">
                  <a16:creationId xmlns:a16="http://schemas.microsoft.com/office/drawing/2014/main" id="{E9EB22CF-CA57-4EC6-9C31-3BC2BD0507AD}"/>
                </a:ext>
              </a:extLst>
            </p:cNvPr>
            <p:cNvSpPr/>
            <p:nvPr/>
          </p:nvSpPr>
          <p:spPr>
            <a:xfrm>
              <a:off x="9603745" y="-1409700"/>
              <a:ext cx="4508959" cy="3757209"/>
            </a:xfrm>
            <a:custGeom>
              <a:avLst/>
              <a:gdLst>
                <a:gd name="connsiteX0" fmla="*/ 3116580 w 3740150"/>
                <a:gd name="connsiteY0" fmla="*/ 0 h 3116579"/>
                <a:gd name="connsiteX1" fmla="*/ 0 w 3740150"/>
                <a:gd name="connsiteY1" fmla="*/ 3116580 h 3116579"/>
                <a:gd name="connsiteX2" fmla="*/ 623570 w 3740150"/>
                <a:gd name="connsiteY2" fmla="*/ 3116580 h 3116579"/>
                <a:gd name="connsiteX3" fmla="*/ 3740150 w 3740150"/>
                <a:gd name="connsiteY3" fmla="*/ 0 h 31165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40150" h="3116579">
                  <a:moveTo>
                    <a:pt x="3116580" y="0"/>
                  </a:moveTo>
                  <a:lnTo>
                    <a:pt x="0" y="3116580"/>
                  </a:lnTo>
                  <a:lnTo>
                    <a:pt x="623570" y="3116580"/>
                  </a:lnTo>
                  <a:lnTo>
                    <a:pt x="3740150" y="0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00000">
                  <a:schemeClr val="bg1"/>
                </a:gs>
              </a:gsLst>
              <a:lin ang="18900000" scaled="1"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Полилиния: фигура 7">
              <a:extLst>
                <a:ext uri="{FF2B5EF4-FFF2-40B4-BE49-F238E27FC236}">
                  <a16:creationId xmlns:a16="http://schemas.microsoft.com/office/drawing/2014/main" id="{EE2853F8-94FB-4300-90C2-C82956DE92A4}"/>
                </a:ext>
              </a:extLst>
            </p:cNvPr>
            <p:cNvSpPr/>
            <p:nvPr/>
          </p:nvSpPr>
          <p:spPr>
            <a:xfrm>
              <a:off x="8100248" y="4978629"/>
              <a:ext cx="2631118" cy="1879371"/>
            </a:xfrm>
            <a:custGeom>
              <a:avLst/>
              <a:gdLst>
                <a:gd name="connsiteX0" fmla="*/ 1558925 w 2182494"/>
                <a:gd name="connsiteY0" fmla="*/ 0 h 1558925"/>
                <a:gd name="connsiteX1" fmla="*/ 0 w 2182494"/>
                <a:gd name="connsiteY1" fmla="*/ 1558925 h 1558925"/>
                <a:gd name="connsiteX2" fmla="*/ 623570 w 2182494"/>
                <a:gd name="connsiteY2" fmla="*/ 1558925 h 1558925"/>
                <a:gd name="connsiteX3" fmla="*/ 2182495 w 2182494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2494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249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Полилиния: фигура 8">
              <a:extLst>
                <a:ext uri="{FF2B5EF4-FFF2-40B4-BE49-F238E27FC236}">
                  <a16:creationId xmlns:a16="http://schemas.microsoft.com/office/drawing/2014/main" id="{D62CB5CA-EAF9-446B-8EC4-BE78F12F17F1}"/>
                </a:ext>
              </a:extLst>
            </p:cNvPr>
            <p:cNvSpPr/>
            <p:nvPr/>
          </p:nvSpPr>
          <p:spPr>
            <a:xfrm>
              <a:off x="7717485" y="4978629"/>
              <a:ext cx="6889" cy="6890"/>
            </a:xfrm>
            <a:custGeom>
              <a:avLst/>
              <a:gdLst>
                <a:gd name="connsiteX0" fmla="*/ 0 w 5714"/>
                <a:gd name="connsiteY0" fmla="*/ 0 h 5715"/>
                <a:gd name="connsiteX1" fmla="*/ 0 w 5714"/>
                <a:gd name="connsiteY1" fmla="*/ 5715 h 5715"/>
                <a:gd name="connsiteX2" fmla="*/ 5715 w 5714"/>
                <a:gd name="connsiteY2" fmla="*/ 0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14" h="5715">
                  <a:moveTo>
                    <a:pt x="0" y="0"/>
                  </a:moveTo>
                  <a:lnTo>
                    <a:pt x="0" y="5715"/>
                  </a:lnTo>
                  <a:lnTo>
                    <a:pt x="5715" y="0"/>
                  </a:lnTo>
                  <a:close/>
                </a:path>
              </a:pathLst>
            </a:custGeom>
            <a:solidFill>
              <a:srgbClr val="002F6E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C00CA567-3944-4ABA-A6C7-2FB6947F548D}"/>
                </a:ext>
              </a:extLst>
            </p:cNvPr>
            <p:cNvSpPr/>
            <p:nvPr/>
          </p:nvSpPr>
          <p:spPr>
            <a:xfrm>
              <a:off x="9603745" y="4978629"/>
              <a:ext cx="2630352" cy="1879371"/>
            </a:xfrm>
            <a:custGeom>
              <a:avLst/>
              <a:gdLst>
                <a:gd name="connsiteX0" fmla="*/ 1558925 w 2181859"/>
                <a:gd name="connsiteY0" fmla="*/ 0 h 1558925"/>
                <a:gd name="connsiteX1" fmla="*/ 0 w 2181859"/>
                <a:gd name="connsiteY1" fmla="*/ 1558925 h 1558925"/>
                <a:gd name="connsiteX2" fmla="*/ 623570 w 2181859"/>
                <a:gd name="connsiteY2" fmla="*/ 1558925 h 1558925"/>
                <a:gd name="connsiteX3" fmla="*/ 2181860 w 2181859"/>
                <a:gd name="connsiteY3" fmla="*/ 0 h 155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1859" h="1558925">
                  <a:moveTo>
                    <a:pt x="1558925" y="0"/>
                  </a:moveTo>
                  <a:lnTo>
                    <a:pt x="0" y="1558925"/>
                  </a:lnTo>
                  <a:lnTo>
                    <a:pt x="623570" y="1558925"/>
                  </a:lnTo>
                  <a:lnTo>
                    <a:pt x="218186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C7981DD3-0670-4919-B3C1-523E67D2ED97}"/>
                </a:ext>
              </a:extLst>
            </p:cNvPr>
            <p:cNvSpPr/>
            <p:nvPr/>
          </p:nvSpPr>
          <p:spPr>
            <a:xfrm>
              <a:off x="10731367" y="2347509"/>
              <a:ext cx="3382101" cy="2631119"/>
            </a:xfrm>
            <a:custGeom>
              <a:avLst/>
              <a:gdLst>
                <a:gd name="connsiteX0" fmla="*/ 2181860 w 2805429"/>
                <a:gd name="connsiteY0" fmla="*/ 0 h 2182495"/>
                <a:gd name="connsiteX1" fmla="*/ 0 w 2805429"/>
                <a:gd name="connsiteY1" fmla="*/ 2182495 h 2182495"/>
                <a:gd name="connsiteX2" fmla="*/ 623570 w 2805429"/>
                <a:gd name="connsiteY2" fmla="*/ 2182495 h 2182495"/>
                <a:gd name="connsiteX3" fmla="*/ 2805430 w 2805429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5429" h="2182495">
                  <a:moveTo>
                    <a:pt x="2181860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5430" y="0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50B0CEB-6342-4EE6-B2EB-1DDDC71FC0D5}"/>
                </a:ext>
              </a:extLst>
            </p:cNvPr>
            <p:cNvSpPr/>
            <p:nvPr/>
          </p:nvSpPr>
          <p:spPr>
            <a:xfrm>
              <a:off x="7724375" y="2347509"/>
              <a:ext cx="3382866" cy="2631119"/>
            </a:xfrm>
            <a:custGeom>
              <a:avLst/>
              <a:gdLst>
                <a:gd name="connsiteX0" fmla="*/ 2182495 w 2806064"/>
                <a:gd name="connsiteY0" fmla="*/ 0 h 2182495"/>
                <a:gd name="connsiteX1" fmla="*/ 0 w 2806064"/>
                <a:gd name="connsiteY1" fmla="*/ 2182495 h 2182495"/>
                <a:gd name="connsiteX2" fmla="*/ 623570 w 2806064"/>
                <a:gd name="connsiteY2" fmla="*/ 2182495 h 2182495"/>
                <a:gd name="connsiteX3" fmla="*/ 2806065 w 2806064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6064" h="2182495">
                  <a:moveTo>
                    <a:pt x="2182495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6065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43000"/>
                  </a:schemeClr>
                </a:gs>
              </a:gsLst>
              <a:lin ang="189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3199B1E9-72E3-4CB4-9688-694170FD6D49}"/>
                </a:ext>
              </a:extLst>
            </p:cNvPr>
            <p:cNvSpPr/>
            <p:nvPr/>
          </p:nvSpPr>
          <p:spPr>
            <a:xfrm>
              <a:off x="9207200" y="2347509"/>
              <a:ext cx="3382866" cy="2631119"/>
            </a:xfrm>
            <a:custGeom>
              <a:avLst/>
              <a:gdLst>
                <a:gd name="connsiteX0" fmla="*/ 2182495 w 2806064"/>
                <a:gd name="connsiteY0" fmla="*/ 0 h 2182495"/>
                <a:gd name="connsiteX1" fmla="*/ 0 w 2806064"/>
                <a:gd name="connsiteY1" fmla="*/ 2182495 h 2182495"/>
                <a:gd name="connsiteX2" fmla="*/ 623570 w 2806064"/>
                <a:gd name="connsiteY2" fmla="*/ 2182495 h 2182495"/>
                <a:gd name="connsiteX3" fmla="*/ 2806065 w 2806064"/>
                <a:gd name="connsiteY3" fmla="*/ 0 h 21824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06064" h="2182495">
                  <a:moveTo>
                    <a:pt x="2182495" y="0"/>
                  </a:moveTo>
                  <a:lnTo>
                    <a:pt x="0" y="2182495"/>
                  </a:lnTo>
                  <a:lnTo>
                    <a:pt x="623570" y="2182495"/>
                  </a:lnTo>
                  <a:lnTo>
                    <a:pt x="2806065" y="0"/>
                  </a:lnTo>
                  <a:close/>
                </a:path>
              </a:pathLst>
            </a:custGeom>
            <a:solidFill>
              <a:srgbClr val="E52421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5" name="Текст 39">
            <a:extLst>
              <a:ext uri="{FF2B5EF4-FFF2-40B4-BE49-F238E27FC236}">
                <a16:creationId xmlns:a16="http://schemas.microsoft.com/office/drawing/2014/main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894454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4544645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4884353"/>
            <a:ext cx="2574925" cy="204671"/>
          </a:xfrm>
        </p:spPr>
        <p:txBody>
          <a:bodyPr anchor="ctr">
            <a:spAutoFit/>
          </a:bodyPr>
          <a:lstStyle>
            <a:lvl1pPr>
              <a:buNone/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331185" marR="0" lvl="0" indent="-331185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tabLst/>
              <a:defRPr/>
            </a:pPr>
            <a:r>
              <a:rPr lang="ru-RU" dirty="0"/>
              <a:t>Дата мероприятия</a:t>
            </a:r>
          </a:p>
        </p:txBody>
      </p:sp>
      <p:pic>
        <p:nvPicPr>
          <p:cNvPr id="14" name="Graphic 17">
            <a:extLst>
              <a:ext uri="{FF2B5EF4-FFF2-40B4-BE49-F238E27FC236}">
                <a16:creationId xmlns:a16="http://schemas.microsoft.com/office/drawing/2014/main" id="{67E33C7A-8A8F-4E25-8819-7C6CF003FD4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3583" y="4531188"/>
            <a:ext cx="252028" cy="252028"/>
          </a:xfrm>
          <a:prstGeom prst="rect">
            <a:avLst/>
          </a:prstGeom>
        </p:spPr>
      </p:pic>
      <p:pic>
        <p:nvPicPr>
          <p:cNvPr id="15" name="Graphic 5">
            <a:extLst>
              <a:ext uri="{FF2B5EF4-FFF2-40B4-BE49-F238E27FC236}">
                <a16:creationId xmlns:a16="http://schemas.microsoft.com/office/drawing/2014/main" id="{C9A8D45A-D37B-427B-97A6-183FFB1D044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3152" y="4887836"/>
            <a:ext cx="192890" cy="192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7889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иний титул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Рисунок 3">
            <a:extLst>
              <a:ext uri="{FF2B5EF4-FFF2-40B4-BE49-F238E27FC236}">
                <a16:creationId xmlns:a16="http://schemas.microsoft.com/office/drawing/2014/main" id="{3AF7360D-0ACE-49A4-BFCB-664580DCE466}"/>
              </a:ext>
            </a:extLst>
          </p:cNvPr>
          <p:cNvGrpSpPr/>
          <p:nvPr userDrawn="1"/>
        </p:nvGrpSpPr>
        <p:grpSpPr>
          <a:xfrm>
            <a:off x="403201" y="647761"/>
            <a:ext cx="3352539" cy="1044171"/>
            <a:chOff x="2690812" y="2366100"/>
            <a:chExt cx="6807279" cy="2120173"/>
          </a:xfrm>
          <a:solidFill>
            <a:srgbClr val="FFFFFF"/>
          </a:solidFill>
        </p:grpSpPr>
        <p:sp>
          <p:nvSpPr>
            <p:cNvPr id="3" name="Полилиния: фигура 2">
              <a:extLst>
                <a:ext uri="{FF2B5EF4-FFF2-40B4-BE49-F238E27FC236}">
                  <a16:creationId xmlns:a16="http://schemas.microsoft.com/office/drawing/2014/main" id="{F6481FE0-98D1-47DB-A94C-AC28AB728833}"/>
                </a:ext>
              </a:extLst>
            </p:cNvPr>
            <p:cNvSpPr/>
            <p:nvPr/>
          </p:nvSpPr>
          <p:spPr>
            <a:xfrm>
              <a:off x="2690812" y="3224212"/>
              <a:ext cx="6390322" cy="1262062"/>
            </a:xfrm>
            <a:custGeom>
              <a:avLst/>
              <a:gdLst>
                <a:gd name="connsiteX0" fmla="*/ 446723 w 6390322"/>
                <a:gd name="connsiteY0" fmla="*/ 950595 h 1262062"/>
                <a:gd name="connsiteX1" fmla="*/ 0 w 6390322"/>
                <a:gd name="connsiteY1" fmla="*/ 480060 h 1262062"/>
                <a:gd name="connsiteX2" fmla="*/ 488633 w 6390322"/>
                <a:gd name="connsiteY2" fmla="*/ 0 h 1262062"/>
                <a:gd name="connsiteX3" fmla="*/ 700088 w 6390322"/>
                <a:gd name="connsiteY3" fmla="*/ 41910 h 1262062"/>
                <a:gd name="connsiteX4" fmla="*/ 700088 w 6390322"/>
                <a:gd name="connsiteY4" fmla="*/ 212408 h 1262062"/>
                <a:gd name="connsiteX5" fmla="*/ 495300 w 6390322"/>
                <a:gd name="connsiteY5" fmla="*/ 155258 h 1262062"/>
                <a:gd name="connsiteX6" fmla="*/ 213360 w 6390322"/>
                <a:gd name="connsiteY6" fmla="*/ 466725 h 1262062"/>
                <a:gd name="connsiteX7" fmla="*/ 477203 w 6390322"/>
                <a:gd name="connsiteY7" fmla="*/ 785813 h 1262062"/>
                <a:gd name="connsiteX8" fmla="*/ 681990 w 6390322"/>
                <a:gd name="connsiteY8" fmla="*/ 726758 h 1262062"/>
                <a:gd name="connsiteX9" fmla="*/ 733425 w 6390322"/>
                <a:gd name="connsiteY9" fmla="*/ 864870 h 1262062"/>
                <a:gd name="connsiteX10" fmla="*/ 446723 w 6390322"/>
                <a:gd name="connsiteY10" fmla="*/ 950595 h 1262062"/>
                <a:gd name="connsiteX11" fmla="*/ 3697605 w 6390322"/>
                <a:gd name="connsiteY11" fmla="*/ 950595 h 1262062"/>
                <a:gd name="connsiteX12" fmla="*/ 3373755 w 6390322"/>
                <a:gd name="connsiteY12" fmla="*/ 605790 h 1262062"/>
                <a:gd name="connsiteX13" fmla="*/ 3712845 w 6390322"/>
                <a:gd name="connsiteY13" fmla="*/ 257175 h 1262062"/>
                <a:gd name="connsiteX14" fmla="*/ 3879533 w 6390322"/>
                <a:gd name="connsiteY14" fmla="*/ 295275 h 1262062"/>
                <a:gd name="connsiteX15" fmla="*/ 3879533 w 6390322"/>
                <a:gd name="connsiteY15" fmla="*/ 445770 h 1262062"/>
                <a:gd name="connsiteX16" fmla="*/ 3740468 w 6390322"/>
                <a:gd name="connsiteY16" fmla="*/ 399097 h 1262062"/>
                <a:gd name="connsiteX17" fmla="*/ 3560445 w 6390322"/>
                <a:gd name="connsiteY17" fmla="*/ 596265 h 1262062"/>
                <a:gd name="connsiteX18" fmla="*/ 3737610 w 6390322"/>
                <a:gd name="connsiteY18" fmla="*/ 802005 h 1262062"/>
                <a:gd name="connsiteX19" fmla="*/ 3866198 w 6390322"/>
                <a:gd name="connsiteY19" fmla="*/ 762000 h 1262062"/>
                <a:gd name="connsiteX20" fmla="*/ 3911918 w 6390322"/>
                <a:gd name="connsiteY20" fmla="*/ 886778 h 1262062"/>
                <a:gd name="connsiteX21" fmla="*/ 3697605 w 6390322"/>
                <a:gd name="connsiteY21" fmla="*/ 950595 h 1262062"/>
                <a:gd name="connsiteX22" fmla="*/ 4292918 w 6390322"/>
                <a:gd name="connsiteY22" fmla="*/ 421005 h 1262062"/>
                <a:gd name="connsiteX23" fmla="*/ 4292918 w 6390322"/>
                <a:gd name="connsiteY23" fmla="*/ 937260 h 1262062"/>
                <a:gd name="connsiteX24" fmla="*/ 4102418 w 6390322"/>
                <a:gd name="connsiteY24" fmla="*/ 937260 h 1262062"/>
                <a:gd name="connsiteX25" fmla="*/ 4102418 w 6390322"/>
                <a:gd name="connsiteY25" fmla="*/ 421005 h 1262062"/>
                <a:gd name="connsiteX26" fmla="*/ 3917633 w 6390322"/>
                <a:gd name="connsiteY26" fmla="*/ 421005 h 1262062"/>
                <a:gd name="connsiteX27" fmla="*/ 3917633 w 6390322"/>
                <a:gd name="connsiteY27" fmla="*/ 270510 h 1262062"/>
                <a:gd name="connsiteX28" fmla="*/ 4501515 w 6390322"/>
                <a:gd name="connsiteY28" fmla="*/ 270510 h 1262062"/>
                <a:gd name="connsiteX29" fmla="*/ 4460558 w 6390322"/>
                <a:gd name="connsiteY29" fmla="*/ 421005 h 1262062"/>
                <a:gd name="connsiteX30" fmla="*/ 4292918 w 6390322"/>
                <a:gd name="connsiteY30" fmla="*/ 421005 h 1262062"/>
                <a:gd name="connsiteX31" fmla="*/ 5212080 w 6390322"/>
                <a:gd name="connsiteY31" fmla="*/ 348615 h 1262062"/>
                <a:gd name="connsiteX32" fmla="*/ 5160645 w 6390322"/>
                <a:gd name="connsiteY32" fmla="*/ 758190 h 1262062"/>
                <a:gd name="connsiteX33" fmla="*/ 5072063 w 6390322"/>
                <a:gd name="connsiteY33" fmla="*/ 809625 h 1262062"/>
                <a:gd name="connsiteX34" fmla="*/ 5124450 w 6390322"/>
                <a:gd name="connsiteY34" fmla="*/ 950595 h 1262062"/>
                <a:gd name="connsiteX35" fmla="*/ 5281613 w 6390322"/>
                <a:gd name="connsiteY35" fmla="*/ 884872 h 1262062"/>
                <a:gd name="connsiteX36" fmla="*/ 5371148 w 6390322"/>
                <a:gd name="connsiteY36" fmla="*/ 670560 h 1262062"/>
                <a:gd name="connsiteX37" fmla="*/ 5384483 w 6390322"/>
                <a:gd name="connsiteY37" fmla="*/ 454342 h 1262062"/>
                <a:gd name="connsiteX38" fmla="*/ 5384483 w 6390322"/>
                <a:gd name="connsiteY38" fmla="*/ 421005 h 1262062"/>
                <a:gd name="connsiteX39" fmla="*/ 5534025 w 6390322"/>
                <a:gd name="connsiteY39" fmla="*/ 421005 h 1262062"/>
                <a:gd name="connsiteX40" fmla="*/ 5534025 w 6390322"/>
                <a:gd name="connsiteY40" fmla="*/ 937260 h 1262062"/>
                <a:gd name="connsiteX41" fmla="*/ 5724525 w 6390322"/>
                <a:gd name="connsiteY41" fmla="*/ 937260 h 1262062"/>
                <a:gd name="connsiteX42" fmla="*/ 5724525 w 6390322"/>
                <a:gd name="connsiteY42" fmla="*/ 270510 h 1262062"/>
                <a:gd name="connsiteX43" fmla="*/ 5213033 w 6390322"/>
                <a:gd name="connsiteY43" fmla="*/ 270510 h 1262062"/>
                <a:gd name="connsiteX44" fmla="*/ 5213033 w 6390322"/>
                <a:gd name="connsiteY44" fmla="*/ 348615 h 1262062"/>
                <a:gd name="connsiteX45" fmla="*/ 3056573 w 6390322"/>
                <a:gd name="connsiteY45" fmla="*/ 257175 h 1262062"/>
                <a:gd name="connsiteX46" fmla="*/ 2876550 w 6390322"/>
                <a:gd name="connsiteY46" fmla="*/ 331470 h 1262062"/>
                <a:gd name="connsiteX47" fmla="*/ 2855595 w 6390322"/>
                <a:gd name="connsiteY47" fmla="*/ 270510 h 1262062"/>
                <a:gd name="connsiteX48" fmla="*/ 2695575 w 6390322"/>
                <a:gd name="connsiteY48" fmla="*/ 270510 h 1262062"/>
                <a:gd name="connsiteX49" fmla="*/ 2695575 w 6390322"/>
                <a:gd name="connsiteY49" fmla="*/ 1262063 h 1262062"/>
                <a:gd name="connsiteX50" fmla="*/ 2886075 w 6390322"/>
                <a:gd name="connsiteY50" fmla="*/ 1203960 h 1262062"/>
                <a:gd name="connsiteX51" fmla="*/ 2886075 w 6390322"/>
                <a:gd name="connsiteY51" fmla="*/ 922972 h 1262062"/>
                <a:gd name="connsiteX52" fmla="*/ 3013710 w 6390322"/>
                <a:gd name="connsiteY52" fmla="*/ 950595 h 1262062"/>
                <a:gd name="connsiteX53" fmla="*/ 3328988 w 6390322"/>
                <a:gd name="connsiteY53" fmla="*/ 584835 h 1262062"/>
                <a:gd name="connsiteX54" fmla="*/ 3056573 w 6390322"/>
                <a:gd name="connsiteY54" fmla="*/ 257175 h 1262062"/>
                <a:gd name="connsiteX55" fmla="*/ 2967990 w 6390322"/>
                <a:gd name="connsiteY55" fmla="*/ 812483 h 1262062"/>
                <a:gd name="connsiteX56" fmla="*/ 2886075 w 6390322"/>
                <a:gd name="connsiteY56" fmla="*/ 785813 h 1262062"/>
                <a:gd name="connsiteX57" fmla="*/ 2886075 w 6390322"/>
                <a:gd name="connsiteY57" fmla="*/ 470535 h 1262062"/>
                <a:gd name="connsiteX58" fmla="*/ 3018473 w 6390322"/>
                <a:gd name="connsiteY58" fmla="*/ 395288 h 1262062"/>
                <a:gd name="connsiteX59" fmla="*/ 3140393 w 6390322"/>
                <a:gd name="connsiteY59" fmla="*/ 581978 h 1262062"/>
                <a:gd name="connsiteX60" fmla="*/ 2967990 w 6390322"/>
                <a:gd name="connsiteY60" fmla="*/ 812483 h 1262062"/>
                <a:gd name="connsiteX61" fmla="*/ 4774883 w 6390322"/>
                <a:gd name="connsiteY61" fmla="*/ 257175 h 1262062"/>
                <a:gd name="connsiteX62" fmla="*/ 4507230 w 6390322"/>
                <a:gd name="connsiteY62" fmla="*/ 330517 h 1262062"/>
                <a:gd name="connsiteX63" fmla="*/ 4564380 w 6390322"/>
                <a:gd name="connsiteY63" fmla="*/ 445770 h 1262062"/>
                <a:gd name="connsiteX64" fmla="*/ 4733925 w 6390322"/>
                <a:gd name="connsiteY64" fmla="*/ 401003 h 1262062"/>
                <a:gd name="connsiteX65" fmla="*/ 4858703 w 6390322"/>
                <a:gd name="connsiteY65" fmla="*/ 500063 h 1262062"/>
                <a:gd name="connsiteX66" fmla="*/ 4858703 w 6390322"/>
                <a:gd name="connsiteY66" fmla="*/ 511492 h 1262062"/>
                <a:gd name="connsiteX67" fmla="*/ 4743450 w 6390322"/>
                <a:gd name="connsiteY67" fmla="*/ 516255 h 1262062"/>
                <a:gd name="connsiteX68" fmla="*/ 4461510 w 6390322"/>
                <a:gd name="connsiteY68" fmla="*/ 735330 h 1262062"/>
                <a:gd name="connsiteX69" fmla="*/ 4683443 w 6390322"/>
                <a:gd name="connsiteY69" fmla="*/ 951547 h 1262062"/>
                <a:gd name="connsiteX70" fmla="*/ 4871085 w 6390322"/>
                <a:gd name="connsiteY70" fmla="*/ 880110 h 1262062"/>
                <a:gd name="connsiteX71" fmla="*/ 4900613 w 6390322"/>
                <a:gd name="connsiteY71" fmla="*/ 938213 h 1262062"/>
                <a:gd name="connsiteX72" fmla="*/ 5049203 w 6390322"/>
                <a:gd name="connsiteY72" fmla="*/ 938213 h 1262062"/>
                <a:gd name="connsiteX73" fmla="*/ 5049203 w 6390322"/>
                <a:gd name="connsiteY73" fmla="*/ 504825 h 1262062"/>
                <a:gd name="connsiteX74" fmla="*/ 4774883 w 6390322"/>
                <a:gd name="connsiteY74" fmla="*/ 257175 h 1262062"/>
                <a:gd name="connsiteX75" fmla="*/ 4859655 w 6390322"/>
                <a:gd name="connsiteY75" fmla="*/ 771525 h 1262062"/>
                <a:gd name="connsiteX76" fmla="*/ 4752975 w 6390322"/>
                <a:gd name="connsiteY76" fmla="*/ 802005 h 1262062"/>
                <a:gd name="connsiteX77" fmla="*/ 4652010 w 6390322"/>
                <a:gd name="connsiteY77" fmla="*/ 719138 h 1262062"/>
                <a:gd name="connsiteX78" fmla="*/ 4772978 w 6390322"/>
                <a:gd name="connsiteY78" fmla="*/ 638175 h 1262062"/>
                <a:gd name="connsiteX79" fmla="*/ 4859655 w 6390322"/>
                <a:gd name="connsiteY79" fmla="*/ 635318 h 1262062"/>
                <a:gd name="connsiteX80" fmla="*/ 4859655 w 6390322"/>
                <a:gd name="connsiteY80" fmla="*/ 771525 h 1262062"/>
                <a:gd name="connsiteX81" fmla="*/ 6093143 w 6390322"/>
                <a:gd name="connsiteY81" fmla="*/ 486728 h 1262062"/>
                <a:gd name="connsiteX82" fmla="*/ 5995035 w 6390322"/>
                <a:gd name="connsiteY82" fmla="*/ 486728 h 1262062"/>
                <a:gd name="connsiteX83" fmla="*/ 5995035 w 6390322"/>
                <a:gd name="connsiteY83" fmla="*/ 240983 h 1262062"/>
                <a:gd name="connsiteX84" fmla="*/ 5804535 w 6390322"/>
                <a:gd name="connsiteY84" fmla="*/ 292417 h 1262062"/>
                <a:gd name="connsiteX85" fmla="*/ 5804535 w 6390322"/>
                <a:gd name="connsiteY85" fmla="*/ 937260 h 1262062"/>
                <a:gd name="connsiteX86" fmla="*/ 6048375 w 6390322"/>
                <a:gd name="connsiteY86" fmla="*/ 937260 h 1262062"/>
                <a:gd name="connsiteX87" fmla="*/ 6390323 w 6390322"/>
                <a:gd name="connsiteY87" fmla="*/ 705803 h 1262062"/>
                <a:gd name="connsiteX88" fmla="*/ 6093143 w 6390322"/>
                <a:gd name="connsiteY88" fmla="*/ 486728 h 1262062"/>
                <a:gd name="connsiteX89" fmla="*/ 6061710 w 6390322"/>
                <a:gd name="connsiteY89" fmla="*/ 805815 h 1262062"/>
                <a:gd name="connsiteX90" fmla="*/ 5995988 w 6390322"/>
                <a:gd name="connsiteY90" fmla="*/ 805815 h 1262062"/>
                <a:gd name="connsiteX91" fmla="*/ 5995988 w 6390322"/>
                <a:gd name="connsiteY91" fmla="*/ 619125 h 1262062"/>
                <a:gd name="connsiteX92" fmla="*/ 6059805 w 6390322"/>
                <a:gd name="connsiteY92" fmla="*/ 619125 h 1262062"/>
                <a:gd name="connsiteX93" fmla="*/ 6200775 w 6390322"/>
                <a:gd name="connsiteY93" fmla="*/ 708660 h 1262062"/>
                <a:gd name="connsiteX94" fmla="*/ 6061710 w 6390322"/>
                <a:gd name="connsiteY94" fmla="*/ 805815 h 1262062"/>
                <a:gd name="connsiteX95" fmla="*/ 1842135 w 6390322"/>
                <a:gd name="connsiteY95" fmla="*/ 574358 h 1262062"/>
                <a:gd name="connsiteX96" fmla="*/ 1842135 w 6390322"/>
                <a:gd name="connsiteY96" fmla="*/ 568643 h 1262062"/>
                <a:gd name="connsiteX97" fmla="*/ 1955483 w 6390322"/>
                <a:gd name="connsiteY97" fmla="*/ 427672 h 1262062"/>
                <a:gd name="connsiteX98" fmla="*/ 1782128 w 6390322"/>
                <a:gd name="connsiteY98" fmla="*/ 274320 h 1262062"/>
                <a:gd name="connsiteX99" fmla="*/ 1665923 w 6390322"/>
                <a:gd name="connsiteY99" fmla="*/ 270510 h 1262062"/>
                <a:gd name="connsiteX100" fmla="*/ 1394460 w 6390322"/>
                <a:gd name="connsiteY100" fmla="*/ 270510 h 1262062"/>
                <a:gd name="connsiteX101" fmla="*/ 1394460 w 6390322"/>
                <a:gd name="connsiteY101" fmla="*/ 937260 h 1262062"/>
                <a:gd name="connsiteX102" fmla="*/ 1623060 w 6390322"/>
                <a:gd name="connsiteY102" fmla="*/ 937260 h 1262062"/>
                <a:gd name="connsiteX103" fmla="*/ 1715453 w 6390322"/>
                <a:gd name="connsiteY103" fmla="*/ 936308 h 1262062"/>
                <a:gd name="connsiteX104" fmla="*/ 1984058 w 6390322"/>
                <a:gd name="connsiteY104" fmla="*/ 732472 h 1262062"/>
                <a:gd name="connsiteX105" fmla="*/ 1842135 w 6390322"/>
                <a:gd name="connsiteY105" fmla="*/ 574358 h 1262062"/>
                <a:gd name="connsiteX106" fmla="*/ 1588770 w 6390322"/>
                <a:gd name="connsiteY106" fmla="*/ 397192 h 1262062"/>
                <a:gd name="connsiteX107" fmla="*/ 1666875 w 6390322"/>
                <a:gd name="connsiteY107" fmla="*/ 397192 h 1262062"/>
                <a:gd name="connsiteX108" fmla="*/ 1773555 w 6390322"/>
                <a:gd name="connsiteY108" fmla="*/ 461963 h 1262062"/>
                <a:gd name="connsiteX109" fmla="*/ 1646873 w 6390322"/>
                <a:gd name="connsiteY109" fmla="*/ 529590 h 1262062"/>
                <a:gd name="connsiteX110" fmla="*/ 1588770 w 6390322"/>
                <a:gd name="connsiteY110" fmla="*/ 529590 h 1262062"/>
                <a:gd name="connsiteX111" fmla="*/ 1588770 w 6390322"/>
                <a:gd name="connsiteY111" fmla="*/ 397192 h 1262062"/>
                <a:gd name="connsiteX112" fmla="*/ 1662113 w 6390322"/>
                <a:gd name="connsiteY112" fmla="*/ 810578 h 1262062"/>
                <a:gd name="connsiteX113" fmla="*/ 1584008 w 6390322"/>
                <a:gd name="connsiteY113" fmla="*/ 810578 h 1262062"/>
                <a:gd name="connsiteX114" fmla="*/ 1584008 w 6390322"/>
                <a:gd name="connsiteY114" fmla="*/ 646747 h 1262062"/>
                <a:gd name="connsiteX115" fmla="*/ 1652588 w 6390322"/>
                <a:gd name="connsiteY115" fmla="*/ 646747 h 1262062"/>
                <a:gd name="connsiteX116" fmla="*/ 1792605 w 6390322"/>
                <a:gd name="connsiteY116" fmla="*/ 727710 h 1262062"/>
                <a:gd name="connsiteX117" fmla="*/ 1662113 w 6390322"/>
                <a:gd name="connsiteY117" fmla="*/ 810578 h 1262062"/>
                <a:gd name="connsiteX118" fmla="*/ 1332548 w 6390322"/>
                <a:gd name="connsiteY118" fmla="*/ 598170 h 1262062"/>
                <a:gd name="connsiteX119" fmla="*/ 1023938 w 6390322"/>
                <a:gd name="connsiteY119" fmla="*/ 257175 h 1262062"/>
                <a:gd name="connsiteX120" fmla="*/ 712470 w 6390322"/>
                <a:gd name="connsiteY120" fmla="*/ 605790 h 1262062"/>
                <a:gd name="connsiteX121" fmla="*/ 1047750 w 6390322"/>
                <a:gd name="connsiteY121" fmla="*/ 950595 h 1262062"/>
                <a:gd name="connsiteX122" fmla="*/ 1310640 w 6390322"/>
                <a:gd name="connsiteY122" fmla="*/ 874395 h 1262062"/>
                <a:gd name="connsiteX123" fmla="*/ 1268730 w 6390322"/>
                <a:gd name="connsiteY123" fmla="*/ 754380 h 1262062"/>
                <a:gd name="connsiteX124" fmla="*/ 1080135 w 6390322"/>
                <a:gd name="connsiteY124" fmla="*/ 802005 h 1262062"/>
                <a:gd name="connsiteX125" fmla="*/ 902970 w 6390322"/>
                <a:gd name="connsiteY125" fmla="*/ 656272 h 1262062"/>
                <a:gd name="connsiteX126" fmla="*/ 1333500 w 6390322"/>
                <a:gd name="connsiteY126" fmla="*/ 656272 h 1262062"/>
                <a:gd name="connsiteX127" fmla="*/ 1333500 w 6390322"/>
                <a:gd name="connsiteY127" fmla="*/ 598170 h 1262062"/>
                <a:gd name="connsiteX128" fmla="*/ 898208 w 6390322"/>
                <a:gd name="connsiteY128" fmla="*/ 524828 h 1262062"/>
                <a:gd name="connsiteX129" fmla="*/ 1018223 w 6390322"/>
                <a:gd name="connsiteY129" fmla="*/ 395288 h 1262062"/>
                <a:gd name="connsiteX130" fmla="*/ 1138238 w 6390322"/>
                <a:gd name="connsiteY130" fmla="*/ 524828 h 1262062"/>
                <a:gd name="connsiteX131" fmla="*/ 898208 w 6390322"/>
                <a:gd name="connsiteY131" fmla="*/ 524828 h 1262062"/>
                <a:gd name="connsiteX132" fmla="*/ 2642235 w 6390322"/>
                <a:gd name="connsiteY132" fmla="*/ 598170 h 1262062"/>
                <a:gd name="connsiteX133" fmla="*/ 2333625 w 6390322"/>
                <a:gd name="connsiteY133" fmla="*/ 257175 h 1262062"/>
                <a:gd name="connsiteX134" fmla="*/ 2022158 w 6390322"/>
                <a:gd name="connsiteY134" fmla="*/ 605790 h 1262062"/>
                <a:gd name="connsiteX135" fmla="*/ 2357438 w 6390322"/>
                <a:gd name="connsiteY135" fmla="*/ 950595 h 1262062"/>
                <a:gd name="connsiteX136" fmla="*/ 2620328 w 6390322"/>
                <a:gd name="connsiteY136" fmla="*/ 874395 h 1262062"/>
                <a:gd name="connsiteX137" fmla="*/ 2578418 w 6390322"/>
                <a:gd name="connsiteY137" fmla="*/ 754380 h 1262062"/>
                <a:gd name="connsiteX138" fmla="*/ 2389823 w 6390322"/>
                <a:gd name="connsiteY138" fmla="*/ 802005 h 1262062"/>
                <a:gd name="connsiteX139" fmla="*/ 2212658 w 6390322"/>
                <a:gd name="connsiteY139" fmla="*/ 656272 h 1262062"/>
                <a:gd name="connsiteX140" fmla="*/ 2643188 w 6390322"/>
                <a:gd name="connsiteY140" fmla="*/ 656272 h 1262062"/>
                <a:gd name="connsiteX141" fmla="*/ 2643188 w 6390322"/>
                <a:gd name="connsiteY141" fmla="*/ 598170 h 1262062"/>
                <a:gd name="connsiteX142" fmla="*/ 2207895 w 6390322"/>
                <a:gd name="connsiteY142" fmla="*/ 524828 h 1262062"/>
                <a:gd name="connsiteX143" fmla="*/ 2327910 w 6390322"/>
                <a:gd name="connsiteY143" fmla="*/ 395288 h 1262062"/>
                <a:gd name="connsiteX144" fmla="*/ 2447925 w 6390322"/>
                <a:gd name="connsiteY144" fmla="*/ 524828 h 1262062"/>
                <a:gd name="connsiteX145" fmla="*/ 2207895 w 6390322"/>
                <a:gd name="connsiteY145" fmla="*/ 524828 h 1262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6390322" h="1262062">
                  <a:moveTo>
                    <a:pt x="446723" y="950595"/>
                  </a:moveTo>
                  <a:cubicBezTo>
                    <a:pt x="157163" y="950595"/>
                    <a:pt x="0" y="741997"/>
                    <a:pt x="0" y="480060"/>
                  </a:cubicBezTo>
                  <a:cubicBezTo>
                    <a:pt x="0" y="216217"/>
                    <a:pt x="184785" y="0"/>
                    <a:pt x="488633" y="0"/>
                  </a:cubicBezTo>
                  <a:cubicBezTo>
                    <a:pt x="569595" y="0"/>
                    <a:pt x="639128" y="10477"/>
                    <a:pt x="700088" y="41910"/>
                  </a:cubicBezTo>
                  <a:lnTo>
                    <a:pt x="700088" y="212408"/>
                  </a:lnTo>
                  <a:cubicBezTo>
                    <a:pt x="619125" y="164783"/>
                    <a:pt x="555308" y="155258"/>
                    <a:pt x="495300" y="155258"/>
                  </a:cubicBezTo>
                  <a:cubicBezTo>
                    <a:pt x="289560" y="155258"/>
                    <a:pt x="213360" y="306705"/>
                    <a:pt x="213360" y="466725"/>
                  </a:cubicBezTo>
                  <a:cubicBezTo>
                    <a:pt x="213360" y="644843"/>
                    <a:pt x="309563" y="785813"/>
                    <a:pt x="477203" y="785813"/>
                  </a:cubicBezTo>
                  <a:cubicBezTo>
                    <a:pt x="551498" y="785813"/>
                    <a:pt x="610553" y="764858"/>
                    <a:pt x="681990" y="726758"/>
                  </a:cubicBezTo>
                  <a:lnTo>
                    <a:pt x="733425" y="864870"/>
                  </a:lnTo>
                  <a:cubicBezTo>
                    <a:pt x="625793" y="933450"/>
                    <a:pt x="534353" y="950595"/>
                    <a:pt x="446723" y="950595"/>
                  </a:cubicBezTo>
                  <a:moveTo>
                    <a:pt x="3697605" y="950595"/>
                  </a:moveTo>
                  <a:cubicBezTo>
                    <a:pt x="3483293" y="950595"/>
                    <a:pt x="3373755" y="793433"/>
                    <a:pt x="3373755" y="605790"/>
                  </a:cubicBezTo>
                  <a:cubicBezTo>
                    <a:pt x="3373755" y="396240"/>
                    <a:pt x="3518535" y="257175"/>
                    <a:pt x="3712845" y="257175"/>
                  </a:cubicBezTo>
                  <a:cubicBezTo>
                    <a:pt x="3798570" y="257175"/>
                    <a:pt x="3843338" y="274320"/>
                    <a:pt x="3879533" y="295275"/>
                  </a:cubicBezTo>
                  <a:lnTo>
                    <a:pt x="3879533" y="445770"/>
                  </a:lnTo>
                  <a:cubicBezTo>
                    <a:pt x="3831908" y="411480"/>
                    <a:pt x="3793808" y="399097"/>
                    <a:pt x="3740468" y="399097"/>
                  </a:cubicBezTo>
                  <a:cubicBezTo>
                    <a:pt x="3630930" y="399097"/>
                    <a:pt x="3560445" y="480060"/>
                    <a:pt x="3560445" y="596265"/>
                  </a:cubicBezTo>
                  <a:cubicBezTo>
                    <a:pt x="3560445" y="700088"/>
                    <a:pt x="3614738" y="802005"/>
                    <a:pt x="3737610" y="802005"/>
                  </a:cubicBezTo>
                  <a:cubicBezTo>
                    <a:pt x="3771900" y="802005"/>
                    <a:pt x="3817620" y="786765"/>
                    <a:pt x="3866198" y="762000"/>
                  </a:cubicBezTo>
                  <a:lnTo>
                    <a:pt x="3911918" y="886778"/>
                  </a:lnTo>
                  <a:cubicBezTo>
                    <a:pt x="3857625" y="923925"/>
                    <a:pt x="3765233" y="950595"/>
                    <a:pt x="3697605" y="950595"/>
                  </a:cubicBezTo>
                  <a:moveTo>
                    <a:pt x="4292918" y="421005"/>
                  </a:moveTo>
                  <a:lnTo>
                    <a:pt x="4292918" y="937260"/>
                  </a:lnTo>
                  <a:lnTo>
                    <a:pt x="4102418" y="937260"/>
                  </a:lnTo>
                  <a:lnTo>
                    <a:pt x="4102418" y="421005"/>
                  </a:lnTo>
                  <a:lnTo>
                    <a:pt x="3917633" y="421005"/>
                  </a:lnTo>
                  <a:lnTo>
                    <a:pt x="3917633" y="270510"/>
                  </a:lnTo>
                  <a:lnTo>
                    <a:pt x="4501515" y="270510"/>
                  </a:lnTo>
                  <a:lnTo>
                    <a:pt x="4460558" y="421005"/>
                  </a:lnTo>
                  <a:lnTo>
                    <a:pt x="4292918" y="421005"/>
                  </a:lnTo>
                  <a:close/>
                  <a:moveTo>
                    <a:pt x="5212080" y="348615"/>
                  </a:moveTo>
                  <a:cubicBezTo>
                    <a:pt x="5212080" y="581025"/>
                    <a:pt x="5202555" y="701993"/>
                    <a:pt x="5160645" y="758190"/>
                  </a:cubicBezTo>
                  <a:cubicBezTo>
                    <a:pt x="5139690" y="785813"/>
                    <a:pt x="5106353" y="804863"/>
                    <a:pt x="5072063" y="809625"/>
                  </a:cubicBezTo>
                  <a:lnTo>
                    <a:pt x="5124450" y="950595"/>
                  </a:lnTo>
                  <a:cubicBezTo>
                    <a:pt x="5168265" y="949643"/>
                    <a:pt x="5234940" y="930593"/>
                    <a:pt x="5281613" y="884872"/>
                  </a:cubicBezTo>
                  <a:cubicBezTo>
                    <a:pt x="5342573" y="825818"/>
                    <a:pt x="5362575" y="750570"/>
                    <a:pt x="5371148" y="670560"/>
                  </a:cubicBezTo>
                  <a:cubicBezTo>
                    <a:pt x="5378768" y="602933"/>
                    <a:pt x="5384483" y="523875"/>
                    <a:pt x="5384483" y="454342"/>
                  </a:cubicBezTo>
                  <a:lnTo>
                    <a:pt x="5384483" y="421005"/>
                  </a:lnTo>
                  <a:lnTo>
                    <a:pt x="5534025" y="421005"/>
                  </a:lnTo>
                  <a:lnTo>
                    <a:pt x="5534025" y="937260"/>
                  </a:lnTo>
                  <a:lnTo>
                    <a:pt x="5724525" y="937260"/>
                  </a:lnTo>
                  <a:lnTo>
                    <a:pt x="5724525" y="270510"/>
                  </a:lnTo>
                  <a:lnTo>
                    <a:pt x="5213033" y="270510"/>
                  </a:lnTo>
                  <a:lnTo>
                    <a:pt x="5213033" y="348615"/>
                  </a:lnTo>
                  <a:close/>
                  <a:moveTo>
                    <a:pt x="3056573" y="257175"/>
                  </a:moveTo>
                  <a:cubicBezTo>
                    <a:pt x="2982278" y="257175"/>
                    <a:pt x="2926080" y="293370"/>
                    <a:pt x="2876550" y="331470"/>
                  </a:cubicBezTo>
                  <a:lnTo>
                    <a:pt x="2855595" y="270510"/>
                  </a:lnTo>
                  <a:lnTo>
                    <a:pt x="2695575" y="270510"/>
                  </a:lnTo>
                  <a:lnTo>
                    <a:pt x="2695575" y="1262063"/>
                  </a:lnTo>
                  <a:lnTo>
                    <a:pt x="2886075" y="1203960"/>
                  </a:lnTo>
                  <a:lnTo>
                    <a:pt x="2886075" y="922972"/>
                  </a:lnTo>
                  <a:cubicBezTo>
                    <a:pt x="2920365" y="941070"/>
                    <a:pt x="2965133" y="950595"/>
                    <a:pt x="3013710" y="950595"/>
                  </a:cubicBezTo>
                  <a:cubicBezTo>
                    <a:pt x="3210878" y="950595"/>
                    <a:pt x="3328988" y="782955"/>
                    <a:pt x="3328988" y="584835"/>
                  </a:cubicBezTo>
                  <a:cubicBezTo>
                    <a:pt x="3329940" y="373380"/>
                    <a:pt x="3209925" y="257175"/>
                    <a:pt x="3056573" y="257175"/>
                  </a:cubicBezTo>
                  <a:moveTo>
                    <a:pt x="2967990" y="812483"/>
                  </a:moveTo>
                  <a:cubicBezTo>
                    <a:pt x="2933700" y="812483"/>
                    <a:pt x="2907030" y="800100"/>
                    <a:pt x="2886075" y="785813"/>
                  </a:cubicBezTo>
                  <a:lnTo>
                    <a:pt x="2886075" y="470535"/>
                  </a:lnTo>
                  <a:cubicBezTo>
                    <a:pt x="2908935" y="436245"/>
                    <a:pt x="2967990" y="395288"/>
                    <a:pt x="3018473" y="395288"/>
                  </a:cubicBezTo>
                  <a:cubicBezTo>
                    <a:pt x="3094673" y="395288"/>
                    <a:pt x="3140393" y="443865"/>
                    <a:pt x="3140393" y="581978"/>
                  </a:cubicBezTo>
                  <a:cubicBezTo>
                    <a:pt x="3139440" y="695325"/>
                    <a:pt x="3097530" y="812483"/>
                    <a:pt x="2967990" y="812483"/>
                  </a:cubicBezTo>
                  <a:moveTo>
                    <a:pt x="4774883" y="257175"/>
                  </a:moveTo>
                  <a:cubicBezTo>
                    <a:pt x="4685348" y="257175"/>
                    <a:pt x="4597718" y="271463"/>
                    <a:pt x="4507230" y="330517"/>
                  </a:cubicBezTo>
                  <a:lnTo>
                    <a:pt x="4564380" y="445770"/>
                  </a:lnTo>
                  <a:cubicBezTo>
                    <a:pt x="4609148" y="420053"/>
                    <a:pt x="4667250" y="401003"/>
                    <a:pt x="4733925" y="401003"/>
                  </a:cubicBezTo>
                  <a:cubicBezTo>
                    <a:pt x="4799648" y="401003"/>
                    <a:pt x="4858703" y="430530"/>
                    <a:pt x="4858703" y="500063"/>
                  </a:cubicBezTo>
                  <a:lnTo>
                    <a:pt x="4858703" y="511492"/>
                  </a:lnTo>
                  <a:lnTo>
                    <a:pt x="4743450" y="516255"/>
                  </a:lnTo>
                  <a:cubicBezTo>
                    <a:pt x="4574858" y="521970"/>
                    <a:pt x="4461510" y="595313"/>
                    <a:pt x="4461510" y="735330"/>
                  </a:cubicBezTo>
                  <a:cubicBezTo>
                    <a:pt x="4461510" y="867728"/>
                    <a:pt x="4556760" y="951547"/>
                    <a:pt x="4683443" y="951547"/>
                  </a:cubicBezTo>
                  <a:cubicBezTo>
                    <a:pt x="4769168" y="951547"/>
                    <a:pt x="4828223" y="919163"/>
                    <a:pt x="4871085" y="880110"/>
                  </a:cubicBezTo>
                  <a:lnTo>
                    <a:pt x="4900613" y="938213"/>
                  </a:lnTo>
                  <a:lnTo>
                    <a:pt x="5049203" y="938213"/>
                  </a:lnTo>
                  <a:lnTo>
                    <a:pt x="5049203" y="504825"/>
                  </a:lnTo>
                  <a:cubicBezTo>
                    <a:pt x="5050155" y="328613"/>
                    <a:pt x="4952048" y="257175"/>
                    <a:pt x="4774883" y="257175"/>
                  </a:cubicBezTo>
                  <a:moveTo>
                    <a:pt x="4859655" y="771525"/>
                  </a:moveTo>
                  <a:cubicBezTo>
                    <a:pt x="4841558" y="785813"/>
                    <a:pt x="4803458" y="802005"/>
                    <a:pt x="4752975" y="802005"/>
                  </a:cubicBezTo>
                  <a:cubicBezTo>
                    <a:pt x="4688205" y="802005"/>
                    <a:pt x="4652010" y="769620"/>
                    <a:pt x="4652010" y="719138"/>
                  </a:cubicBezTo>
                  <a:cubicBezTo>
                    <a:pt x="4652010" y="668655"/>
                    <a:pt x="4691063" y="640080"/>
                    <a:pt x="4772978" y="638175"/>
                  </a:cubicBezTo>
                  <a:lnTo>
                    <a:pt x="4859655" y="635318"/>
                  </a:lnTo>
                  <a:lnTo>
                    <a:pt x="4859655" y="771525"/>
                  </a:lnTo>
                  <a:close/>
                  <a:moveTo>
                    <a:pt x="6093143" y="486728"/>
                  </a:moveTo>
                  <a:lnTo>
                    <a:pt x="5995035" y="486728"/>
                  </a:lnTo>
                  <a:lnTo>
                    <a:pt x="5995035" y="240983"/>
                  </a:lnTo>
                  <a:lnTo>
                    <a:pt x="5804535" y="292417"/>
                  </a:lnTo>
                  <a:lnTo>
                    <a:pt x="5804535" y="937260"/>
                  </a:lnTo>
                  <a:lnTo>
                    <a:pt x="6048375" y="937260"/>
                  </a:lnTo>
                  <a:cubicBezTo>
                    <a:pt x="6225540" y="937260"/>
                    <a:pt x="6390323" y="889635"/>
                    <a:pt x="6390323" y="705803"/>
                  </a:cubicBezTo>
                  <a:cubicBezTo>
                    <a:pt x="6390323" y="550545"/>
                    <a:pt x="6256973" y="486728"/>
                    <a:pt x="6093143" y="486728"/>
                  </a:cubicBezTo>
                  <a:moveTo>
                    <a:pt x="6061710" y="805815"/>
                  </a:moveTo>
                  <a:lnTo>
                    <a:pt x="5995988" y="805815"/>
                  </a:lnTo>
                  <a:lnTo>
                    <a:pt x="5995988" y="619125"/>
                  </a:lnTo>
                  <a:lnTo>
                    <a:pt x="6059805" y="619125"/>
                  </a:lnTo>
                  <a:cubicBezTo>
                    <a:pt x="6127433" y="619125"/>
                    <a:pt x="6200775" y="629603"/>
                    <a:pt x="6200775" y="708660"/>
                  </a:cubicBezTo>
                  <a:cubicBezTo>
                    <a:pt x="6200775" y="786765"/>
                    <a:pt x="6136958" y="805815"/>
                    <a:pt x="6061710" y="805815"/>
                  </a:cubicBezTo>
                  <a:moveTo>
                    <a:pt x="1842135" y="574358"/>
                  </a:moveTo>
                  <a:lnTo>
                    <a:pt x="1842135" y="568643"/>
                  </a:lnTo>
                  <a:cubicBezTo>
                    <a:pt x="1904048" y="555308"/>
                    <a:pt x="1955483" y="514350"/>
                    <a:pt x="1955483" y="427672"/>
                  </a:cubicBezTo>
                  <a:cubicBezTo>
                    <a:pt x="1955483" y="323850"/>
                    <a:pt x="1867853" y="285750"/>
                    <a:pt x="1782128" y="274320"/>
                  </a:cubicBezTo>
                  <a:cubicBezTo>
                    <a:pt x="1755458" y="270510"/>
                    <a:pt x="1698308" y="270510"/>
                    <a:pt x="1665923" y="270510"/>
                  </a:cubicBezTo>
                  <a:lnTo>
                    <a:pt x="1394460" y="270510"/>
                  </a:lnTo>
                  <a:lnTo>
                    <a:pt x="1394460" y="937260"/>
                  </a:lnTo>
                  <a:lnTo>
                    <a:pt x="1623060" y="937260"/>
                  </a:lnTo>
                  <a:cubicBezTo>
                    <a:pt x="1647825" y="937260"/>
                    <a:pt x="1685925" y="937260"/>
                    <a:pt x="1715453" y="936308"/>
                  </a:cubicBezTo>
                  <a:cubicBezTo>
                    <a:pt x="1835468" y="930593"/>
                    <a:pt x="1984058" y="887730"/>
                    <a:pt x="1984058" y="732472"/>
                  </a:cubicBezTo>
                  <a:cubicBezTo>
                    <a:pt x="1983105" y="637222"/>
                    <a:pt x="1931670" y="589597"/>
                    <a:pt x="1842135" y="574358"/>
                  </a:cubicBezTo>
                  <a:moveTo>
                    <a:pt x="1588770" y="397192"/>
                  </a:moveTo>
                  <a:lnTo>
                    <a:pt x="1666875" y="397192"/>
                  </a:lnTo>
                  <a:cubicBezTo>
                    <a:pt x="1744980" y="397192"/>
                    <a:pt x="1773555" y="421005"/>
                    <a:pt x="1773555" y="461963"/>
                  </a:cubicBezTo>
                  <a:cubicBezTo>
                    <a:pt x="1773555" y="513397"/>
                    <a:pt x="1725930" y="529590"/>
                    <a:pt x="1646873" y="529590"/>
                  </a:cubicBezTo>
                  <a:lnTo>
                    <a:pt x="1588770" y="529590"/>
                  </a:lnTo>
                  <a:lnTo>
                    <a:pt x="1588770" y="397192"/>
                  </a:lnTo>
                  <a:close/>
                  <a:moveTo>
                    <a:pt x="1662113" y="810578"/>
                  </a:moveTo>
                  <a:lnTo>
                    <a:pt x="1584008" y="810578"/>
                  </a:lnTo>
                  <a:lnTo>
                    <a:pt x="1584008" y="646747"/>
                  </a:lnTo>
                  <a:lnTo>
                    <a:pt x="1652588" y="646747"/>
                  </a:lnTo>
                  <a:cubicBezTo>
                    <a:pt x="1744028" y="646747"/>
                    <a:pt x="1792605" y="667703"/>
                    <a:pt x="1792605" y="727710"/>
                  </a:cubicBezTo>
                  <a:cubicBezTo>
                    <a:pt x="1793558" y="790575"/>
                    <a:pt x="1728788" y="810578"/>
                    <a:pt x="1662113" y="810578"/>
                  </a:cubicBezTo>
                  <a:moveTo>
                    <a:pt x="1332548" y="598170"/>
                  </a:moveTo>
                  <a:cubicBezTo>
                    <a:pt x="1332548" y="392430"/>
                    <a:pt x="1205865" y="257175"/>
                    <a:pt x="1023938" y="257175"/>
                  </a:cubicBezTo>
                  <a:cubicBezTo>
                    <a:pt x="824865" y="257175"/>
                    <a:pt x="712470" y="418147"/>
                    <a:pt x="712470" y="605790"/>
                  </a:cubicBezTo>
                  <a:cubicBezTo>
                    <a:pt x="712470" y="781050"/>
                    <a:pt x="810578" y="950595"/>
                    <a:pt x="1047750" y="950595"/>
                  </a:cubicBezTo>
                  <a:cubicBezTo>
                    <a:pt x="1127760" y="950595"/>
                    <a:pt x="1218248" y="932497"/>
                    <a:pt x="1310640" y="874395"/>
                  </a:cubicBezTo>
                  <a:lnTo>
                    <a:pt x="1268730" y="754380"/>
                  </a:lnTo>
                  <a:cubicBezTo>
                    <a:pt x="1193483" y="790575"/>
                    <a:pt x="1144905" y="802005"/>
                    <a:pt x="1080135" y="802005"/>
                  </a:cubicBezTo>
                  <a:cubicBezTo>
                    <a:pt x="991553" y="802005"/>
                    <a:pt x="906780" y="746760"/>
                    <a:pt x="902970" y="656272"/>
                  </a:cubicBezTo>
                  <a:lnTo>
                    <a:pt x="1333500" y="656272"/>
                  </a:lnTo>
                  <a:lnTo>
                    <a:pt x="1333500" y="598170"/>
                  </a:lnTo>
                  <a:close/>
                  <a:moveTo>
                    <a:pt x="898208" y="524828"/>
                  </a:moveTo>
                  <a:cubicBezTo>
                    <a:pt x="898208" y="463867"/>
                    <a:pt x="942023" y="395288"/>
                    <a:pt x="1018223" y="395288"/>
                  </a:cubicBezTo>
                  <a:cubicBezTo>
                    <a:pt x="1099185" y="395288"/>
                    <a:pt x="1134428" y="461010"/>
                    <a:pt x="1138238" y="524828"/>
                  </a:cubicBezTo>
                  <a:lnTo>
                    <a:pt x="898208" y="524828"/>
                  </a:lnTo>
                  <a:close/>
                  <a:moveTo>
                    <a:pt x="2642235" y="598170"/>
                  </a:moveTo>
                  <a:cubicBezTo>
                    <a:pt x="2642235" y="392430"/>
                    <a:pt x="2515553" y="257175"/>
                    <a:pt x="2333625" y="257175"/>
                  </a:cubicBezTo>
                  <a:cubicBezTo>
                    <a:pt x="2134553" y="257175"/>
                    <a:pt x="2022158" y="418147"/>
                    <a:pt x="2022158" y="605790"/>
                  </a:cubicBezTo>
                  <a:cubicBezTo>
                    <a:pt x="2022158" y="781050"/>
                    <a:pt x="2120265" y="950595"/>
                    <a:pt x="2357438" y="950595"/>
                  </a:cubicBezTo>
                  <a:cubicBezTo>
                    <a:pt x="2438400" y="950595"/>
                    <a:pt x="2527935" y="932497"/>
                    <a:pt x="2620328" y="874395"/>
                  </a:cubicBezTo>
                  <a:lnTo>
                    <a:pt x="2578418" y="754380"/>
                  </a:lnTo>
                  <a:cubicBezTo>
                    <a:pt x="2503170" y="790575"/>
                    <a:pt x="2454593" y="802005"/>
                    <a:pt x="2389823" y="802005"/>
                  </a:cubicBezTo>
                  <a:cubicBezTo>
                    <a:pt x="2301240" y="802005"/>
                    <a:pt x="2217420" y="746760"/>
                    <a:pt x="2212658" y="656272"/>
                  </a:cubicBezTo>
                  <a:lnTo>
                    <a:pt x="2643188" y="656272"/>
                  </a:lnTo>
                  <a:lnTo>
                    <a:pt x="2643188" y="598170"/>
                  </a:lnTo>
                  <a:close/>
                  <a:moveTo>
                    <a:pt x="2207895" y="524828"/>
                  </a:moveTo>
                  <a:cubicBezTo>
                    <a:pt x="2207895" y="463867"/>
                    <a:pt x="2251710" y="395288"/>
                    <a:pt x="2327910" y="395288"/>
                  </a:cubicBezTo>
                  <a:cubicBezTo>
                    <a:pt x="2408873" y="395288"/>
                    <a:pt x="2444115" y="461010"/>
                    <a:pt x="2447925" y="524828"/>
                  </a:cubicBezTo>
                  <a:lnTo>
                    <a:pt x="2207895" y="524828"/>
                  </a:ln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" name="Полилиния: фигура 3">
              <a:extLst>
                <a:ext uri="{FF2B5EF4-FFF2-40B4-BE49-F238E27FC236}">
                  <a16:creationId xmlns:a16="http://schemas.microsoft.com/office/drawing/2014/main" id="{B11FC44A-196E-443A-B14F-64CB50F4802A}"/>
                </a:ext>
              </a:extLst>
            </p:cNvPr>
            <p:cNvSpPr/>
            <p:nvPr/>
          </p:nvSpPr>
          <p:spPr>
            <a:xfrm>
              <a:off x="8545167" y="2366100"/>
              <a:ext cx="952923" cy="954567"/>
            </a:xfrm>
            <a:custGeom>
              <a:avLst/>
              <a:gdLst>
                <a:gd name="connsiteX0" fmla="*/ 875057 w 952923"/>
                <a:gd name="connsiteY0" fmla="*/ 657134 h 954567"/>
                <a:gd name="connsiteX1" fmla="*/ 841719 w 952923"/>
                <a:gd name="connsiteY1" fmla="*/ 674279 h 954567"/>
                <a:gd name="connsiteX2" fmla="*/ 715989 w 952923"/>
                <a:gd name="connsiteY2" fmla="*/ 658086 h 954567"/>
                <a:gd name="connsiteX3" fmla="*/ 622644 w 952923"/>
                <a:gd name="connsiteY3" fmla="*/ 609509 h 954567"/>
                <a:gd name="connsiteX4" fmla="*/ 669317 w 952923"/>
                <a:gd name="connsiteY4" fmla="*/ 467586 h 954567"/>
                <a:gd name="connsiteX5" fmla="*/ 702655 w 952923"/>
                <a:gd name="connsiteY5" fmla="*/ 251369 h 954567"/>
                <a:gd name="connsiteX6" fmla="*/ 697892 w 952923"/>
                <a:gd name="connsiteY6" fmla="*/ 143736 h 954567"/>
                <a:gd name="connsiteX7" fmla="*/ 649314 w 952923"/>
                <a:gd name="connsiteY7" fmla="*/ 26579 h 954567"/>
                <a:gd name="connsiteX8" fmla="*/ 615977 w 952923"/>
                <a:gd name="connsiteY8" fmla="*/ 5624 h 954567"/>
                <a:gd name="connsiteX9" fmla="*/ 775044 w 952923"/>
                <a:gd name="connsiteY9" fmla="*/ 1814 h 954567"/>
                <a:gd name="connsiteX10" fmla="*/ 902680 w 952923"/>
                <a:gd name="connsiteY10" fmla="*/ 46581 h 954567"/>
                <a:gd name="connsiteX11" fmla="*/ 949352 w 952923"/>
                <a:gd name="connsiteY11" fmla="*/ 174216 h 954567"/>
                <a:gd name="connsiteX12" fmla="*/ 949352 w 952923"/>
                <a:gd name="connsiteY12" fmla="*/ 333284 h 954567"/>
                <a:gd name="connsiteX13" fmla="*/ 913157 w 952923"/>
                <a:gd name="connsiteY13" fmla="*/ 530451 h 954567"/>
                <a:gd name="connsiteX14" fmla="*/ 913157 w 952923"/>
                <a:gd name="connsiteY14" fmla="*/ 530451 h 954567"/>
                <a:gd name="connsiteX15" fmla="*/ 875057 w 952923"/>
                <a:gd name="connsiteY15" fmla="*/ 657134 h 954567"/>
                <a:gd name="connsiteX16" fmla="*/ 155919 w 952923"/>
                <a:gd name="connsiteY16" fmla="*/ 620939 h 954567"/>
                <a:gd name="connsiteX17" fmla="*/ 157825 w 952923"/>
                <a:gd name="connsiteY17" fmla="*/ 583791 h 954567"/>
                <a:gd name="connsiteX18" fmla="*/ 234977 w 952923"/>
                <a:gd name="connsiteY18" fmla="*/ 482826 h 954567"/>
                <a:gd name="connsiteX19" fmla="*/ 323559 w 952923"/>
                <a:gd name="connsiteY19" fmla="*/ 425676 h 954567"/>
                <a:gd name="connsiteX20" fmla="*/ 422619 w 952923"/>
                <a:gd name="connsiteY20" fmla="*/ 537119 h 954567"/>
                <a:gd name="connsiteX21" fmla="*/ 594069 w 952923"/>
                <a:gd name="connsiteY21" fmla="*/ 674279 h 954567"/>
                <a:gd name="connsiteX22" fmla="*/ 689319 w 952923"/>
                <a:gd name="connsiteY22" fmla="*/ 723809 h 954567"/>
                <a:gd name="connsiteX23" fmla="*/ 815050 w 952923"/>
                <a:gd name="connsiteY23" fmla="*/ 740001 h 954567"/>
                <a:gd name="connsiteX24" fmla="*/ 849339 w 952923"/>
                <a:gd name="connsiteY24" fmla="*/ 721904 h 954567"/>
                <a:gd name="connsiteX25" fmla="*/ 773139 w 952923"/>
                <a:gd name="connsiteY25" fmla="*/ 861921 h 954567"/>
                <a:gd name="connsiteX26" fmla="*/ 670269 w 952923"/>
                <a:gd name="connsiteY26" fmla="*/ 950504 h 954567"/>
                <a:gd name="connsiteX27" fmla="*/ 536919 w 952923"/>
                <a:gd name="connsiteY27" fmla="*/ 927644 h 954567"/>
                <a:gd name="connsiteX28" fmla="*/ 398807 w 952923"/>
                <a:gd name="connsiteY28" fmla="*/ 847634 h 954567"/>
                <a:gd name="connsiteX29" fmla="*/ 246407 w 952923"/>
                <a:gd name="connsiteY29" fmla="*/ 718094 h 954567"/>
                <a:gd name="connsiteX30" fmla="*/ 246407 w 952923"/>
                <a:gd name="connsiteY30" fmla="*/ 718094 h 954567"/>
                <a:gd name="connsiteX31" fmla="*/ 155919 w 952923"/>
                <a:gd name="connsiteY31" fmla="*/ 620939 h 954567"/>
                <a:gd name="connsiteX32" fmla="*/ 546444 w 952923"/>
                <a:gd name="connsiteY32" fmla="*/ 16101 h 954567"/>
                <a:gd name="connsiteX33" fmla="*/ 577877 w 952923"/>
                <a:gd name="connsiteY33" fmla="*/ 36104 h 954567"/>
                <a:gd name="connsiteX34" fmla="*/ 626455 w 952923"/>
                <a:gd name="connsiteY34" fmla="*/ 153261 h 954567"/>
                <a:gd name="connsiteX35" fmla="*/ 631217 w 952923"/>
                <a:gd name="connsiteY35" fmla="*/ 258036 h 954567"/>
                <a:gd name="connsiteX36" fmla="*/ 485484 w 952923"/>
                <a:gd name="connsiteY36" fmla="*/ 288516 h 954567"/>
                <a:gd name="connsiteX37" fmla="*/ 280697 w 952923"/>
                <a:gd name="connsiteY37" fmla="*/ 367574 h 954567"/>
                <a:gd name="connsiteX38" fmla="*/ 190209 w 952923"/>
                <a:gd name="connsiteY38" fmla="*/ 425676 h 954567"/>
                <a:gd name="connsiteX39" fmla="*/ 113057 w 952923"/>
                <a:gd name="connsiteY39" fmla="*/ 526641 h 954567"/>
                <a:gd name="connsiteX40" fmla="*/ 111152 w 952923"/>
                <a:gd name="connsiteY40" fmla="*/ 565694 h 954567"/>
                <a:gd name="connsiteX41" fmla="*/ 28284 w 952923"/>
                <a:gd name="connsiteY41" fmla="*/ 429486 h 954567"/>
                <a:gd name="connsiteX42" fmla="*/ 3519 w 952923"/>
                <a:gd name="connsiteY42" fmla="*/ 296136 h 954567"/>
                <a:gd name="connsiteX43" fmla="*/ 90197 w 952923"/>
                <a:gd name="connsiteY43" fmla="*/ 191361 h 954567"/>
                <a:gd name="connsiteX44" fmla="*/ 228309 w 952923"/>
                <a:gd name="connsiteY44" fmla="*/ 112304 h 954567"/>
                <a:gd name="connsiteX45" fmla="*/ 416905 w 952923"/>
                <a:gd name="connsiteY45" fmla="*/ 44676 h 954567"/>
                <a:gd name="connsiteX46" fmla="*/ 416905 w 952923"/>
                <a:gd name="connsiteY46" fmla="*/ 44676 h 954567"/>
                <a:gd name="connsiteX47" fmla="*/ 546444 w 952923"/>
                <a:gd name="connsiteY47" fmla="*/ 16101 h 954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952923" h="954567">
                  <a:moveTo>
                    <a:pt x="875057" y="657134"/>
                  </a:moveTo>
                  <a:cubicBezTo>
                    <a:pt x="864580" y="664754"/>
                    <a:pt x="853150" y="670469"/>
                    <a:pt x="841719" y="674279"/>
                  </a:cubicBezTo>
                  <a:cubicBezTo>
                    <a:pt x="803619" y="685709"/>
                    <a:pt x="757900" y="675231"/>
                    <a:pt x="715989" y="658086"/>
                  </a:cubicBezTo>
                  <a:cubicBezTo>
                    <a:pt x="686462" y="645704"/>
                    <a:pt x="655030" y="629511"/>
                    <a:pt x="622644" y="609509"/>
                  </a:cubicBezTo>
                  <a:cubicBezTo>
                    <a:pt x="639789" y="567599"/>
                    <a:pt x="655982" y="519974"/>
                    <a:pt x="669317" y="467586"/>
                  </a:cubicBezTo>
                  <a:cubicBezTo>
                    <a:pt x="690272" y="385671"/>
                    <a:pt x="700750" y="314234"/>
                    <a:pt x="702655" y="251369"/>
                  </a:cubicBezTo>
                  <a:cubicBezTo>
                    <a:pt x="703607" y="212316"/>
                    <a:pt x="701702" y="177074"/>
                    <a:pt x="697892" y="143736"/>
                  </a:cubicBezTo>
                  <a:cubicBezTo>
                    <a:pt x="692177" y="98969"/>
                    <a:pt x="677889" y="53249"/>
                    <a:pt x="649314" y="26579"/>
                  </a:cubicBezTo>
                  <a:cubicBezTo>
                    <a:pt x="639789" y="18006"/>
                    <a:pt x="629312" y="11339"/>
                    <a:pt x="615977" y="5624"/>
                  </a:cubicBezTo>
                  <a:cubicBezTo>
                    <a:pt x="675032" y="-1044"/>
                    <a:pt x="728372" y="-1044"/>
                    <a:pt x="775044" y="1814"/>
                  </a:cubicBezTo>
                  <a:cubicBezTo>
                    <a:pt x="824575" y="5624"/>
                    <a:pt x="874105" y="18006"/>
                    <a:pt x="902680" y="46581"/>
                  </a:cubicBezTo>
                  <a:cubicBezTo>
                    <a:pt x="932207" y="75156"/>
                    <a:pt x="944589" y="124686"/>
                    <a:pt x="949352" y="174216"/>
                  </a:cubicBezTo>
                  <a:cubicBezTo>
                    <a:pt x="954114" y="220889"/>
                    <a:pt x="954114" y="274229"/>
                    <a:pt x="949352" y="333284"/>
                  </a:cubicBezTo>
                  <a:cubicBezTo>
                    <a:pt x="943637" y="392339"/>
                    <a:pt x="932207" y="458061"/>
                    <a:pt x="913157" y="530451"/>
                  </a:cubicBezTo>
                  <a:lnTo>
                    <a:pt x="913157" y="530451"/>
                  </a:lnTo>
                  <a:cubicBezTo>
                    <a:pt x="901727" y="576171"/>
                    <a:pt x="888392" y="619986"/>
                    <a:pt x="875057" y="657134"/>
                  </a:cubicBezTo>
                  <a:moveTo>
                    <a:pt x="155919" y="620939"/>
                  </a:moveTo>
                  <a:cubicBezTo>
                    <a:pt x="154967" y="607604"/>
                    <a:pt x="154967" y="595221"/>
                    <a:pt x="157825" y="583791"/>
                  </a:cubicBezTo>
                  <a:cubicBezTo>
                    <a:pt x="166397" y="545691"/>
                    <a:pt x="198782" y="510449"/>
                    <a:pt x="234977" y="482826"/>
                  </a:cubicBezTo>
                  <a:cubicBezTo>
                    <a:pt x="260694" y="462824"/>
                    <a:pt x="290222" y="443774"/>
                    <a:pt x="323559" y="425676"/>
                  </a:cubicBezTo>
                  <a:cubicBezTo>
                    <a:pt x="351182" y="460919"/>
                    <a:pt x="384519" y="499019"/>
                    <a:pt x="422619" y="537119"/>
                  </a:cubicBezTo>
                  <a:cubicBezTo>
                    <a:pt x="482627" y="596174"/>
                    <a:pt x="539777" y="640941"/>
                    <a:pt x="594069" y="674279"/>
                  </a:cubicBezTo>
                  <a:cubicBezTo>
                    <a:pt x="627407" y="695234"/>
                    <a:pt x="658839" y="711426"/>
                    <a:pt x="689319" y="723809"/>
                  </a:cubicBezTo>
                  <a:cubicBezTo>
                    <a:pt x="731230" y="740954"/>
                    <a:pt x="776950" y="751431"/>
                    <a:pt x="815050" y="740001"/>
                  </a:cubicBezTo>
                  <a:cubicBezTo>
                    <a:pt x="826480" y="736191"/>
                    <a:pt x="838862" y="729524"/>
                    <a:pt x="849339" y="721904"/>
                  </a:cubicBezTo>
                  <a:cubicBezTo>
                    <a:pt x="825527" y="777149"/>
                    <a:pt x="798857" y="822869"/>
                    <a:pt x="773139" y="861921"/>
                  </a:cubicBezTo>
                  <a:cubicBezTo>
                    <a:pt x="744564" y="901926"/>
                    <a:pt x="709322" y="939074"/>
                    <a:pt x="670269" y="950504"/>
                  </a:cubicBezTo>
                  <a:cubicBezTo>
                    <a:pt x="631217" y="961934"/>
                    <a:pt x="581687" y="947646"/>
                    <a:pt x="536919" y="927644"/>
                  </a:cubicBezTo>
                  <a:cubicBezTo>
                    <a:pt x="494057" y="908594"/>
                    <a:pt x="448337" y="881924"/>
                    <a:pt x="398807" y="847634"/>
                  </a:cubicBezTo>
                  <a:cubicBezTo>
                    <a:pt x="350230" y="813344"/>
                    <a:pt x="299747" y="770481"/>
                    <a:pt x="246407" y="718094"/>
                  </a:cubicBezTo>
                  <a:lnTo>
                    <a:pt x="246407" y="718094"/>
                  </a:lnTo>
                  <a:cubicBezTo>
                    <a:pt x="212117" y="684756"/>
                    <a:pt x="181637" y="651419"/>
                    <a:pt x="155919" y="620939"/>
                  </a:cubicBezTo>
                  <a:moveTo>
                    <a:pt x="546444" y="16101"/>
                  </a:moveTo>
                  <a:cubicBezTo>
                    <a:pt x="558827" y="21816"/>
                    <a:pt x="569305" y="28484"/>
                    <a:pt x="577877" y="36104"/>
                  </a:cubicBezTo>
                  <a:cubicBezTo>
                    <a:pt x="607405" y="62774"/>
                    <a:pt x="620739" y="108494"/>
                    <a:pt x="626455" y="153261"/>
                  </a:cubicBezTo>
                  <a:cubicBezTo>
                    <a:pt x="630264" y="184694"/>
                    <a:pt x="632169" y="219936"/>
                    <a:pt x="631217" y="258036"/>
                  </a:cubicBezTo>
                  <a:cubicBezTo>
                    <a:pt x="586450" y="263751"/>
                    <a:pt x="537872" y="274229"/>
                    <a:pt x="485484" y="288516"/>
                  </a:cubicBezTo>
                  <a:cubicBezTo>
                    <a:pt x="404522" y="311376"/>
                    <a:pt x="336894" y="338046"/>
                    <a:pt x="280697" y="367574"/>
                  </a:cubicBezTo>
                  <a:cubicBezTo>
                    <a:pt x="246407" y="385671"/>
                    <a:pt x="215927" y="405674"/>
                    <a:pt x="190209" y="425676"/>
                  </a:cubicBezTo>
                  <a:cubicBezTo>
                    <a:pt x="154967" y="453299"/>
                    <a:pt x="121630" y="487589"/>
                    <a:pt x="113057" y="526641"/>
                  </a:cubicBezTo>
                  <a:cubicBezTo>
                    <a:pt x="110200" y="539024"/>
                    <a:pt x="110200" y="552359"/>
                    <a:pt x="111152" y="565694"/>
                  </a:cubicBezTo>
                  <a:cubicBezTo>
                    <a:pt x="75909" y="517116"/>
                    <a:pt x="49239" y="471396"/>
                    <a:pt x="28284" y="429486"/>
                  </a:cubicBezTo>
                  <a:cubicBezTo>
                    <a:pt x="7330" y="384719"/>
                    <a:pt x="-6958" y="335189"/>
                    <a:pt x="3519" y="296136"/>
                  </a:cubicBezTo>
                  <a:cubicBezTo>
                    <a:pt x="13997" y="256131"/>
                    <a:pt x="50192" y="220889"/>
                    <a:pt x="90197" y="191361"/>
                  </a:cubicBezTo>
                  <a:cubicBezTo>
                    <a:pt x="128297" y="163739"/>
                    <a:pt x="174017" y="137069"/>
                    <a:pt x="228309" y="112304"/>
                  </a:cubicBezTo>
                  <a:cubicBezTo>
                    <a:pt x="282602" y="87539"/>
                    <a:pt x="344514" y="64679"/>
                    <a:pt x="416905" y="44676"/>
                  </a:cubicBezTo>
                  <a:lnTo>
                    <a:pt x="416905" y="44676"/>
                  </a:lnTo>
                  <a:cubicBezTo>
                    <a:pt x="462625" y="33246"/>
                    <a:pt x="506439" y="23721"/>
                    <a:pt x="546444" y="16101"/>
                  </a:cubicBezTo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5" name="Текст 39">
            <a:extLst>
              <a:ext uri="{FF2B5EF4-FFF2-40B4-BE49-F238E27FC236}">
                <a16:creationId xmlns:a16="http://schemas.microsoft.com/office/drawing/2014/main" id="{5336473E-1F7B-4377-9140-DA33EAA38FE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9" y="2553605"/>
            <a:ext cx="6894454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презентации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29" name="Текст 26">
            <a:extLst>
              <a:ext uri="{FF2B5EF4-FFF2-40B4-BE49-F238E27FC236}">
                <a16:creationId xmlns:a16="http://schemas.microsoft.com/office/drawing/2014/main" id="{D2D5BB33-210A-470A-ADA0-7318E72A22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05425" y="4544645"/>
            <a:ext cx="2574925" cy="204671"/>
          </a:xfrm>
        </p:spPr>
        <p:txBody>
          <a:bodyPr anchor="ctr">
            <a:spAutoFit/>
          </a:bodyPr>
          <a:lstStyle>
            <a:lvl1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ФИО спикера</a:t>
            </a:r>
          </a:p>
        </p:txBody>
      </p:sp>
      <p:sp>
        <p:nvSpPr>
          <p:cNvPr id="30" name="Текст 26">
            <a:extLst>
              <a:ext uri="{FF2B5EF4-FFF2-40B4-BE49-F238E27FC236}">
                <a16:creationId xmlns:a16="http://schemas.microsoft.com/office/drawing/2014/main" id="{7D796F81-C010-4486-8C13-2B64B67C08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5425" y="4884353"/>
            <a:ext cx="2574925" cy="204671"/>
          </a:xfrm>
        </p:spPr>
        <p:txBody>
          <a:bodyPr anchor="ctr">
            <a:spAutoFit/>
          </a:bodyPr>
          <a:lstStyle>
            <a:lvl1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1pPr>
            <a:lvl2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2pPr>
            <a:lvl3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3pPr>
            <a:lvl4pPr>
              <a:defRPr kumimoji="0" lang="ru-RU" sz="1400" b="0" i="0" u="none" strike="noStrike" kern="120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4pPr>
            <a:lvl5pPr>
              <a:defRPr kumimoji="0" lang="ru-RU" sz="14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defRPr>
            </a:lvl5pPr>
          </a:lstStyle>
          <a:p>
            <a:pPr marL="0" marR="0" lvl="0" indent="0" algn="l" defTabSz="6858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Дата мероприятия</a:t>
            </a:r>
          </a:p>
        </p:txBody>
      </p:sp>
      <p:pic>
        <p:nvPicPr>
          <p:cNvPr id="5" name="Graphic 17">
            <a:extLst>
              <a:ext uri="{FF2B5EF4-FFF2-40B4-BE49-F238E27FC236}">
                <a16:creationId xmlns:a16="http://schemas.microsoft.com/office/drawing/2014/main" id="{C3B7CBEA-8AD0-441A-A1D4-0F139AA06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3583" y="4531188"/>
            <a:ext cx="252028" cy="252028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0ED128A5-3EB3-44B8-9514-60A5376432F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23152" y="4887836"/>
            <a:ext cx="192890" cy="192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5361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18463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иний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84573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Диагональный паттерн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4CE0A532-2796-40D5-A00D-592B82F1A2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0"/>
            <a:ext cx="12190476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769D422-068F-4038-B61F-055EE178BF4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7183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A3E83BB-44FD-43C3-B5FD-B2DC1C2D4985}"/>
              </a:ext>
            </a:extLst>
          </p:cNvPr>
          <p:cNvSpPr/>
          <p:nvPr userDrawn="1"/>
        </p:nvSpPr>
        <p:spPr>
          <a:xfrm>
            <a:off x="-1" y="0"/>
            <a:ext cx="7294577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381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  <p:sp>
        <p:nvSpPr>
          <p:cNvPr id="112" name="Полилиния: фигура 111">
            <a:extLst>
              <a:ext uri="{FF2B5EF4-FFF2-40B4-BE49-F238E27FC236}">
                <a16:creationId xmlns:a16="http://schemas.microsoft.com/office/drawing/2014/main" id="{1C442878-F4C2-4530-A4A9-D1022633EE6F}"/>
              </a:ext>
            </a:extLst>
          </p:cNvPr>
          <p:cNvSpPr/>
          <p:nvPr/>
        </p:nvSpPr>
        <p:spPr>
          <a:xfrm>
            <a:off x="1059120" y="0"/>
            <a:ext cx="640800" cy="4919628"/>
          </a:xfrm>
          <a:custGeom>
            <a:avLst/>
            <a:gdLst>
              <a:gd name="connsiteX0" fmla="*/ 0 w 640800"/>
              <a:gd name="connsiteY0" fmla="*/ 0 h 4919628"/>
              <a:gd name="connsiteX1" fmla="*/ 625208 w 640800"/>
              <a:gd name="connsiteY1" fmla="*/ 0 h 4919628"/>
              <a:gd name="connsiteX2" fmla="*/ 640800 w 640800"/>
              <a:gd name="connsiteY2" fmla="*/ 0 h 4919628"/>
              <a:gd name="connsiteX3" fmla="*/ 640800 w 640800"/>
              <a:gd name="connsiteY3" fmla="*/ 914400 h 4919628"/>
              <a:gd name="connsiteX4" fmla="*/ 639537 w 640800"/>
              <a:gd name="connsiteY4" fmla="*/ 914400 h 4919628"/>
              <a:gd name="connsiteX5" fmla="*/ 639537 w 640800"/>
              <a:gd name="connsiteY5" fmla="*/ 4280091 h 4919628"/>
              <a:gd name="connsiteX6" fmla="*/ 0 w 640800"/>
              <a:gd name="connsiteY6" fmla="*/ 4919628 h 4919628"/>
              <a:gd name="connsiteX7" fmla="*/ 0 w 640800"/>
              <a:gd name="connsiteY7" fmla="*/ 914400 h 49196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919628">
                <a:moveTo>
                  <a:pt x="0" y="0"/>
                </a:moveTo>
                <a:lnTo>
                  <a:pt x="625208" y="0"/>
                </a:lnTo>
                <a:lnTo>
                  <a:pt x="640800" y="0"/>
                </a:lnTo>
                <a:lnTo>
                  <a:pt x="640800" y="914400"/>
                </a:lnTo>
                <a:lnTo>
                  <a:pt x="639537" y="914400"/>
                </a:lnTo>
                <a:lnTo>
                  <a:pt x="639537" y="4280091"/>
                </a:lnTo>
                <a:lnTo>
                  <a:pt x="0" y="4919628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5" name="Полилиния: фигура 114">
            <a:extLst>
              <a:ext uri="{FF2B5EF4-FFF2-40B4-BE49-F238E27FC236}">
                <a16:creationId xmlns:a16="http://schemas.microsoft.com/office/drawing/2014/main" id="{1080C500-E1F3-41A1-859D-E9BB186C608F}"/>
              </a:ext>
            </a:extLst>
          </p:cNvPr>
          <p:cNvSpPr/>
          <p:nvPr/>
        </p:nvSpPr>
        <p:spPr>
          <a:xfrm>
            <a:off x="2337657" y="0"/>
            <a:ext cx="640800" cy="4706448"/>
          </a:xfrm>
          <a:custGeom>
            <a:avLst/>
            <a:gdLst>
              <a:gd name="connsiteX0" fmla="*/ 0 w 640800"/>
              <a:gd name="connsiteY0" fmla="*/ 0 h 4706448"/>
              <a:gd name="connsiteX1" fmla="*/ 640800 w 640800"/>
              <a:gd name="connsiteY1" fmla="*/ 0 h 4706448"/>
              <a:gd name="connsiteX2" fmla="*/ 640800 w 640800"/>
              <a:gd name="connsiteY2" fmla="*/ 228235 h 4706448"/>
              <a:gd name="connsiteX3" fmla="*/ 640800 w 640800"/>
              <a:gd name="connsiteY3" fmla="*/ 914399 h 4706448"/>
              <a:gd name="connsiteX4" fmla="*/ 640800 w 640800"/>
              <a:gd name="connsiteY4" fmla="*/ 4066911 h 4706448"/>
              <a:gd name="connsiteX5" fmla="*/ 535 w 640800"/>
              <a:gd name="connsiteY5" fmla="*/ 4706448 h 4706448"/>
              <a:gd name="connsiteX6" fmla="*/ 535 w 640800"/>
              <a:gd name="connsiteY6" fmla="*/ 914399 h 4706448"/>
              <a:gd name="connsiteX7" fmla="*/ 0 w 640800"/>
              <a:gd name="connsiteY7" fmla="*/ 914399 h 4706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706448">
                <a:moveTo>
                  <a:pt x="0" y="0"/>
                </a:moveTo>
                <a:lnTo>
                  <a:pt x="640800" y="0"/>
                </a:lnTo>
                <a:lnTo>
                  <a:pt x="640800" y="228235"/>
                </a:lnTo>
                <a:lnTo>
                  <a:pt x="640800" y="914399"/>
                </a:lnTo>
                <a:lnTo>
                  <a:pt x="640800" y="4066911"/>
                </a:lnTo>
                <a:lnTo>
                  <a:pt x="535" y="4706448"/>
                </a:lnTo>
                <a:lnTo>
                  <a:pt x="535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18" name="Полилиния: фигура 117">
            <a:extLst>
              <a:ext uri="{FF2B5EF4-FFF2-40B4-BE49-F238E27FC236}">
                <a16:creationId xmlns:a16="http://schemas.microsoft.com/office/drawing/2014/main" id="{74A4B6E7-2238-4377-9F71-463F621D9F03}"/>
              </a:ext>
            </a:extLst>
          </p:cNvPr>
          <p:cNvSpPr/>
          <p:nvPr userDrawn="1"/>
        </p:nvSpPr>
        <p:spPr>
          <a:xfrm>
            <a:off x="3616730" y="0"/>
            <a:ext cx="640800" cy="4493268"/>
          </a:xfrm>
          <a:custGeom>
            <a:avLst/>
            <a:gdLst>
              <a:gd name="connsiteX0" fmla="*/ 0 w 640800"/>
              <a:gd name="connsiteY0" fmla="*/ 0 h 4493268"/>
              <a:gd name="connsiteX1" fmla="*/ 640800 w 640800"/>
              <a:gd name="connsiteY1" fmla="*/ 0 h 4493268"/>
              <a:gd name="connsiteX2" fmla="*/ 640800 w 640800"/>
              <a:gd name="connsiteY2" fmla="*/ 441413 h 4493268"/>
              <a:gd name="connsiteX3" fmla="*/ 640800 w 640800"/>
              <a:gd name="connsiteY3" fmla="*/ 914399 h 4493268"/>
              <a:gd name="connsiteX4" fmla="*/ 640800 w 640800"/>
              <a:gd name="connsiteY4" fmla="*/ 3853004 h 4493268"/>
              <a:gd name="connsiteX5" fmla="*/ 1263 w 640800"/>
              <a:gd name="connsiteY5" fmla="*/ 4493268 h 4493268"/>
              <a:gd name="connsiteX6" fmla="*/ 1263 w 640800"/>
              <a:gd name="connsiteY6" fmla="*/ 914399 h 4493268"/>
              <a:gd name="connsiteX7" fmla="*/ 0 w 640800"/>
              <a:gd name="connsiteY7" fmla="*/ 914399 h 4493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493268">
                <a:moveTo>
                  <a:pt x="0" y="0"/>
                </a:moveTo>
                <a:lnTo>
                  <a:pt x="640800" y="0"/>
                </a:lnTo>
                <a:lnTo>
                  <a:pt x="640800" y="441413"/>
                </a:lnTo>
                <a:lnTo>
                  <a:pt x="640800" y="914399"/>
                </a:lnTo>
                <a:lnTo>
                  <a:pt x="640800" y="3853004"/>
                </a:lnTo>
                <a:lnTo>
                  <a:pt x="1263" y="4493268"/>
                </a:lnTo>
                <a:lnTo>
                  <a:pt x="1263" y="914399"/>
                </a:lnTo>
                <a:lnTo>
                  <a:pt x="0" y="914399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7" name="Полилиния: фигура 106">
            <a:extLst>
              <a:ext uri="{FF2B5EF4-FFF2-40B4-BE49-F238E27FC236}">
                <a16:creationId xmlns:a16="http://schemas.microsoft.com/office/drawing/2014/main" id="{9969CFF9-EA23-4816-A325-913254C85A5D}"/>
              </a:ext>
            </a:extLst>
          </p:cNvPr>
          <p:cNvSpPr/>
          <p:nvPr/>
        </p:nvSpPr>
        <p:spPr>
          <a:xfrm>
            <a:off x="4896533" y="0"/>
            <a:ext cx="640800" cy="4280090"/>
          </a:xfrm>
          <a:custGeom>
            <a:avLst/>
            <a:gdLst>
              <a:gd name="connsiteX0" fmla="*/ 0 w 640800"/>
              <a:gd name="connsiteY0" fmla="*/ 0 h 4280090"/>
              <a:gd name="connsiteX1" fmla="*/ 640800 w 640800"/>
              <a:gd name="connsiteY1" fmla="*/ 0 h 4280090"/>
              <a:gd name="connsiteX2" fmla="*/ 640800 w 640800"/>
              <a:gd name="connsiteY2" fmla="*/ 654593 h 4280090"/>
              <a:gd name="connsiteX3" fmla="*/ 640800 w 640800"/>
              <a:gd name="connsiteY3" fmla="*/ 914400 h 4280090"/>
              <a:gd name="connsiteX4" fmla="*/ 640800 w 640800"/>
              <a:gd name="connsiteY4" fmla="*/ 3639826 h 4280090"/>
              <a:gd name="connsiteX5" fmla="*/ 1263 w 640800"/>
              <a:gd name="connsiteY5" fmla="*/ 4280090 h 4280090"/>
              <a:gd name="connsiteX6" fmla="*/ 1263 w 640800"/>
              <a:gd name="connsiteY6" fmla="*/ 914400 h 4280090"/>
              <a:gd name="connsiteX7" fmla="*/ 0 w 640800"/>
              <a:gd name="connsiteY7" fmla="*/ 914400 h 4280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280090">
                <a:moveTo>
                  <a:pt x="0" y="0"/>
                </a:moveTo>
                <a:lnTo>
                  <a:pt x="640800" y="0"/>
                </a:lnTo>
                <a:lnTo>
                  <a:pt x="640800" y="654593"/>
                </a:lnTo>
                <a:lnTo>
                  <a:pt x="640800" y="914400"/>
                </a:lnTo>
                <a:lnTo>
                  <a:pt x="640800" y="3639826"/>
                </a:lnTo>
                <a:lnTo>
                  <a:pt x="1263" y="4280090"/>
                </a:lnTo>
                <a:lnTo>
                  <a:pt x="1263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99" name="Полилиния: фигура 98">
            <a:extLst>
              <a:ext uri="{FF2B5EF4-FFF2-40B4-BE49-F238E27FC236}">
                <a16:creationId xmlns:a16="http://schemas.microsoft.com/office/drawing/2014/main" id="{EBBD11E5-3800-4C06-8C9D-FA6A9A56A45A}"/>
              </a:ext>
            </a:extLst>
          </p:cNvPr>
          <p:cNvSpPr/>
          <p:nvPr/>
        </p:nvSpPr>
        <p:spPr>
          <a:xfrm>
            <a:off x="1697392" y="4706447"/>
            <a:ext cx="640801" cy="2151553"/>
          </a:xfrm>
          <a:custGeom>
            <a:avLst/>
            <a:gdLst>
              <a:gd name="connsiteX0" fmla="*/ 640801 w 640801"/>
              <a:gd name="connsiteY0" fmla="*/ 0 h 2151553"/>
              <a:gd name="connsiteX1" fmla="*/ 640801 w 640801"/>
              <a:gd name="connsiteY1" fmla="*/ 1629036 h 2151553"/>
              <a:gd name="connsiteX2" fmla="*/ 640800 w 640801"/>
              <a:gd name="connsiteY2" fmla="*/ 1629036 h 2151553"/>
              <a:gd name="connsiteX3" fmla="*/ 640800 w 640801"/>
              <a:gd name="connsiteY3" fmla="*/ 2151553 h 2151553"/>
              <a:gd name="connsiteX4" fmla="*/ 0 w 640801"/>
              <a:gd name="connsiteY4" fmla="*/ 2151553 h 2151553"/>
              <a:gd name="connsiteX5" fmla="*/ 0 w 640801"/>
              <a:gd name="connsiteY5" fmla="*/ 1237153 h 2151553"/>
              <a:gd name="connsiteX6" fmla="*/ 1264 w 640801"/>
              <a:gd name="connsiteY6" fmla="*/ 1237153 h 2151553"/>
              <a:gd name="connsiteX7" fmla="*/ 1264 w 640801"/>
              <a:gd name="connsiteY7" fmla="*/ 639537 h 2151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1" h="2151553">
                <a:moveTo>
                  <a:pt x="640801" y="0"/>
                </a:moveTo>
                <a:lnTo>
                  <a:pt x="640801" y="1629036"/>
                </a:lnTo>
                <a:lnTo>
                  <a:pt x="640800" y="1629036"/>
                </a:lnTo>
                <a:lnTo>
                  <a:pt x="640800" y="2151553"/>
                </a:lnTo>
                <a:lnTo>
                  <a:pt x="0" y="2151553"/>
                </a:lnTo>
                <a:lnTo>
                  <a:pt x="0" y="1237153"/>
                </a:lnTo>
                <a:lnTo>
                  <a:pt x="1264" y="1237153"/>
                </a:lnTo>
                <a:lnTo>
                  <a:pt x="1264" y="639537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00" name="Полилиния: фигура 99">
            <a:extLst>
              <a:ext uri="{FF2B5EF4-FFF2-40B4-BE49-F238E27FC236}">
                <a16:creationId xmlns:a16="http://schemas.microsoft.com/office/drawing/2014/main" id="{91B0E24D-062D-4366-B715-F55EF2FBDB9D}"/>
              </a:ext>
            </a:extLst>
          </p:cNvPr>
          <p:cNvSpPr/>
          <p:nvPr/>
        </p:nvSpPr>
        <p:spPr>
          <a:xfrm>
            <a:off x="418855" y="4919627"/>
            <a:ext cx="640800" cy="1938373"/>
          </a:xfrm>
          <a:custGeom>
            <a:avLst/>
            <a:gdLst>
              <a:gd name="connsiteX0" fmla="*/ 640265 w 640800"/>
              <a:gd name="connsiteY0" fmla="*/ 0 h 1938373"/>
              <a:gd name="connsiteX1" fmla="*/ 640265 w 640800"/>
              <a:gd name="connsiteY1" fmla="*/ 1023973 h 1938373"/>
              <a:gd name="connsiteX2" fmla="*/ 640800 w 640800"/>
              <a:gd name="connsiteY2" fmla="*/ 1023973 h 1938373"/>
              <a:gd name="connsiteX3" fmla="*/ 640800 w 640800"/>
              <a:gd name="connsiteY3" fmla="*/ 1938373 h 1938373"/>
              <a:gd name="connsiteX4" fmla="*/ 0 w 640800"/>
              <a:gd name="connsiteY4" fmla="*/ 1938373 h 1938373"/>
              <a:gd name="connsiteX5" fmla="*/ 0 w 640800"/>
              <a:gd name="connsiteY5" fmla="*/ 1415857 h 1938373"/>
              <a:gd name="connsiteX6" fmla="*/ 0 w 640800"/>
              <a:gd name="connsiteY6" fmla="*/ 1023973 h 1938373"/>
              <a:gd name="connsiteX7" fmla="*/ 0 w 640800"/>
              <a:gd name="connsiteY7" fmla="*/ 639537 h 1938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1938373">
                <a:moveTo>
                  <a:pt x="640265" y="0"/>
                </a:moveTo>
                <a:lnTo>
                  <a:pt x="640265" y="1023973"/>
                </a:lnTo>
                <a:lnTo>
                  <a:pt x="640800" y="1023973"/>
                </a:lnTo>
                <a:lnTo>
                  <a:pt x="640800" y="1938373"/>
                </a:lnTo>
                <a:lnTo>
                  <a:pt x="0" y="1938373"/>
                </a:lnTo>
                <a:lnTo>
                  <a:pt x="0" y="1415857"/>
                </a:lnTo>
                <a:lnTo>
                  <a:pt x="0" y="1023973"/>
                </a:lnTo>
                <a:lnTo>
                  <a:pt x="0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7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ru-RU"/>
          </a:p>
        </p:txBody>
      </p:sp>
      <p:sp>
        <p:nvSpPr>
          <p:cNvPr id="97" name="Полилиния: фигура 96">
            <a:extLst>
              <a:ext uri="{FF2B5EF4-FFF2-40B4-BE49-F238E27FC236}">
                <a16:creationId xmlns:a16="http://schemas.microsoft.com/office/drawing/2014/main" id="{4DEEB83B-D4A1-493A-AD6A-B5158CBDE89D}"/>
              </a:ext>
            </a:extLst>
          </p:cNvPr>
          <p:cNvSpPr/>
          <p:nvPr userDrawn="1"/>
        </p:nvSpPr>
        <p:spPr>
          <a:xfrm>
            <a:off x="2977195" y="4493268"/>
            <a:ext cx="640800" cy="2364732"/>
          </a:xfrm>
          <a:custGeom>
            <a:avLst/>
            <a:gdLst>
              <a:gd name="connsiteX0" fmla="*/ 640800 w 640800"/>
              <a:gd name="connsiteY0" fmla="*/ 0 h 2364732"/>
              <a:gd name="connsiteX1" fmla="*/ 640800 w 640800"/>
              <a:gd name="connsiteY1" fmla="*/ 1450332 h 2364732"/>
              <a:gd name="connsiteX2" fmla="*/ 640800 w 640800"/>
              <a:gd name="connsiteY2" fmla="*/ 1842215 h 2364732"/>
              <a:gd name="connsiteX3" fmla="*/ 640800 w 640800"/>
              <a:gd name="connsiteY3" fmla="*/ 2364732 h 2364732"/>
              <a:gd name="connsiteX4" fmla="*/ 0 w 640800"/>
              <a:gd name="connsiteY4" fmla="*/ 2364732 h 2364732"/>
              <a:gd name="connsiteX5" fmla="*/ 0 w 640800"/>
              <a:gd name="connsiteY5" fmla="*/ 1450332 h 2364732"/>
              <a:gd name="connsiteX6" fmla="*/ 1263 w 640800"/>
              <a:gd name="connsiteY6" fmla="*/ 1450332 h 2364732"/>
              <a:gd name="connsiteX7" fmla="*/ 1263 w 640800"/>
              <a:gd name="connsiteY7" fmla="*/ 639537 h 2364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364732">
                <a:moveTo>
                  <a:pt x="640800" y="0"/>
                </a:moveTo>
                <a:lnTo>
                  <a:pt x="640800" y="1450332"/>
                </a:lnTo>
                <a:lnTo>
                  <a:pt x="640800" y="1842215"/>
                </a:lnTo>
                <a:lnTo>
                  <a:pt x="640800" y="2364732"/>
                </a:lnTo>
                <a:lnTo>
                  <a:pt x="0" y="2364732"/>
                </a:lnTo>
                <a:lnTo>
                  <a:pt x="0" y="1450332"/>
                </a:lnTo>
                <a:lnTo>
                  <a:pt x="1263" y="1450332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3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6" name="Полилиния: фигура 95">
            <a:extLst>
              <a:ext uri="{FF2B5EF4-FFF2-40B4-BE49-F238E27FC236}">
                <a16:creationId xmlns:a16="http://schemas.microsoft.com/office/drawing/2014/main" id="{BF3FCD6D-06D6-4940-8A8A-C0D3C72A5930}"/>
              </a:ext>
            </a:extLst>
          </p:cNvPr>
          <p:cNvSpPr/>
          <p:nvPr userDrawn="1"/>
        </p:nvSpPr>
        <p:spPr>
          <a:xfrm>
            <a:off x="4256998" y="4280091"/>
            <a:ext cx="640800" cy="2577909"/>
          </a:xfrm>
          <a:custGeom>
            <a:avLst/>
            <a:gdLst>
              <a:gd name="connsiteX0" fmla="*/ 640800 w 640800"/>
              <a:gd name="connsiteY0" fmla="*/ 0 h 2577909"/>
              <a:gd name="connsiteX1" fmla="*/ 640800 w 640800"/>
              <a:gd name="connsiteY1" fmla="*/ 1663509 h 2577909"/>
              <a:gd name="connsiteX2" fmla="*/ 640800 w 640800"/>
              <a:gd name="connsiteY2" fmla="*/ 2055394 h 2577909"/>
              <a:gd name="connsiteX3" fmla="*/ 640800 w 640800"/>
              <a:gd name="connsiteY3" fmla="*/ 2577909 h 2577909"/>
              <a:gd name="connsiteX4" fmla="*/ 0 w 640800"/>
              <a:gd name="connsiteY4" fmla="*/ 2577909 h 2577909"/>
              <a:gd name="connsiteX5" fmla="*/ 0 w 640800"/>
              <a:gd name="connsiteY5" fmla="*/ 1663509 h 2577909"/>
              <a:gd name="connsiteX6" fmla="*/ 535 w 640800"/>
              <a:gd name="connsiteY6" fmla="*/ 1663509 h 2577909"/>
              <a:gd name="connsiteX7" fmla="*/ 535 w 640800"/>
              <a:gd name="connsiteY7" fmla="*/ 639537 h 25779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577909">
                <a:moveTo>
                  <a:pt x="640800" y="0"/>
                </a:moveTo>
                <a:lnTo>
                  <a:pt x="640800" y="1663509"/>
                </a:lnTo>
                <a:lnTo>
                  <a:pt x="640800" y="2055394"/>
                </a:lnTo>
                <a:lnTo>
                  <a:pt x="640800" y="2577909"/>
                </a:lnTo>
                <a:lnTo>
                  <a:pt x="0" y="2577909"/>
                </a:lnTo>
                <a:lnTo>
                  <a:pt x="0" y="1663509"/>
                </a:lnTo>
                <a:lnTo>
                  <a:pt x="535" y="1663509"/>
                </a:lnTo>
                <a:lnTo>
                  <a:pt x="535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5" name="Полилиния: фигура 94">
            <a:extLst>
              <a:ext uri="{FF2B5EF4-FFF2-40B4-BE49-F238E27FC236}">
                <a16:creationId xmlns:a16="http://schemas.microsoft.com/office/drawing/2014/main" id="{79A41FE2-A269-46F7-AAA1-4D87796A51CA}"/>
              </a:ext>
            </a:extLst>
          </p:cNvPr>
          <p:cNvSpPr/>
          <p:nvPr userDrawn="1"/>
        </p:nvSpPr>
        <p:spPr>
          <a:xfrm>
            <a:off x="5536071" y="4066912"/>
            <a:ext cx="640800" cy="2791088"/>
          </a:xfrm>
          <a:custGeom>
            <a:avLst/>
            <a:gdLst>
              <a:gd name="connsiteX0" fmla="*/ 640800 w 640800"/>
              <a:gd name="connsiteY0" fmla="*/ 0 h 2791088"/>
              <a:gd name="connsiteX1" fmla="*/ 640800 w 640800"/>
              <a:gd name="connsiteY1" fmla="*/ 1876688 h 2791088"/>
              <a:gd name="connsiteX2" fmla="*/ 640800 w 640800"/>
              <a:gd name="connsiteY2" fmla="*/ 2268573 h 2791088"/>
              <a:gd name="connsiteX3" fmla="*/ 640800 w 640800"/>
              <a:gd name="connsiteY3" fmla="*/ 2791088 h 2791088"/>
              <a:gd name="connsiteX4" fmla="*/ 0 w 640800"/>
              <a:gd name="connsiteY4" fmla="*/ 2791088 h 2791088"/>
              <a:gd name="connsiteX5" fmla="*/ 0 w 640800"/>
              <a:gd name="connsiteY5" fmla="*/ 1876688 h 2791088"/>
              <a:gd name="connsiteX6" fmla="*/ 1263 w 640800"/>
              <a:gd name="connsiteY6" fmla="*/ 1876688 h 2791088"/>
              <a:gd name="connsiteX7" fmla="*/ 1263 w 640800"/>
              <a:gd name="connsiteY7" fmla="*/ 639537 h 27910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2791088">
                <a:moveTo>
                  <a:pt x="640800" y="0"/>
                </a:moveTo>
                <a:lnTo>
                  <a:pt x="640800" y="1876688"/>
                </a:lnTo>
                <a:lnTo>
                  <a:pt x="640800" y="2268573"/>
                </a:lnTo>
                <a:lnTo>
                  <a:pt x="640800" y="2791088"/>
                </a:lnTo>
                <a:lnTo>
                  <a:pt x="0" y="2791088"/>
                </a:lnTo>
                <a:lnTo>
                  <a:pt x="0" y="1876688"/>
                </a:lnTo>
                <a:lnTo>
                  <a:pt x="1263" y="1876688"/>
                </a:lnTo>
                <a:lnTo>
                  <a:pt x="1263" y="63953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21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94" name="Полилиния: фигура 93">
            <a:extLst>
              <a:ext uri="{FF2B5EF4-FFF2-40B4-BE49-F238E27FC236}">
                <a16:creationId xmlns:a16="http://schemas.microsoft.com/office/drawing/2014/main" id="{1AA19B25-CED2-4730-B85C-BE30DD0760C3}"/>
              </a:ext>
            </a:extLst>
          </p:cNvPr>
          <p:cNvSpPr/>
          <p:nvPr userDrawn="1"/>
        </p:nvSpPr>
        <p:spPr>
          <a:xfrm>
            <a:off x="6815872" y="3853004"/>
            <a:ext cx="640800" cy="3004996"/>
          </a:xfrm>
          <a:custGeom>
            <a:avLst/>
            <a:gdLst>
              <a:gd name="connsiteX0" fmla="*/ 640800 w 640800"/>
              <a:gd name="connsiteY0" fmla="*/ 0 h 3004996"/>
              <a:gd name="connsiteX1" fmla="*/ 640800 w 640800"/>
              <a:gd name="connsiteY1" fmla="*/ 2090596 h 3004996"/>
              <a:gd name="connsiteX2" fmla="*/ 640800 w 640800"/>
              <a:gd name="connsiteY2" fmla="*/ 2482480 h 3004996"/>
              <a:gd name="connsiteX3" fmla="*/ 640800 w 640800"/>
              <a:gd name="connsiteY3" fmla="*/ 3004996 h 3004996"/>
              <a:gd name="connsiteX4" fmla="*/ 0 w 640800"/>
              <a:gd name="connsiteY4" fmla="*/ 3004996 h 3004996"/>
              <a:gd name="connsiteX5" fmla="*/ 0 w 640800"/>
              <a:gd name="connsiteY5" fmla="*/ 2090596 h 3004996"/>
              <a:gd name="connsiteX6" fmla="*/ 1264 w 640800"/>
              <a:gd name="connsiteY6" fmla="*/ 2090596 h 3004996"/>
              <a:gd name="connsiteX7" fmla="*/ 1264 w 640800"/>
              <a:gd name="connsiteY7" fmla="*/ 640264 h 300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3004996">
                <a:moveTo>
                  <a:pt x="640800" y="0"/>
                </a:moveTo>
                <a:lnTo>
                  <a:pt x="640800" y="2090596"/>
                </a:lnTo>
                <a:lnTo>
                  <a:pt x="640800" y="2482480"/>
                </a:lnTo>
                <a:lnTo>
                  <a:pt x="640800" y="3004996"/>
                </a:lnTo>
                <a:lnTo>
                  <a:pt x="0" y="3004996"/>
                </a:lnTo>
                <a:lnTo>
                  <a:pt x="0" y="2090596"/>
                </a:lnTo>
                <a:lnTo>
                  <a:pt x="1264" y="2090596"/>
                </a:lnTo>
                <a:lnTo>
                  <a:pt x="1264" y="640264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19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06" name="Полилиния: фигура 105">
            <a:extLst>
              <a:ext uri="{FF2B5EF4-FFF2-40B4-BE49-F238E27FC236}">
                <a16:creationId xmlns:a16="http://schemas.microsoft.com/office/drawing/2014/main" id="{EA90A305-B0ED-471E-AC84-D59C48E4B839}"/>
              </a:ext>
            </a:extLst>
          </p:cNvPr>
          <p:cNvSpPr/>
          <p:nvPr userDrawn="1"/>
        </p:nvSpPr>
        <p:spPr>
          <a:xfrm>
            <a:off x="6176336" y="0"/>
            <a:ext cx="640800" cy="4066911"/>
          </a:xfrm>
          <a:custGeom>
            <a:avLst/>
            <a:gdLst>
              <a:gd name="connsiteX0" fmla="*/ 0 w 640800"/>
              <a:gd name="connsiteY0" fmla="*/ 0 h 4066911"/>
              <a:gd name="connsiteX1" fmla="*/ 640800 w 640800"/>
              <a:gd name="connsiteY1" fmla="*/ 0 h 4066911"/>
              <a:gd name="connsiteX2" fmla="*/ 640800 w 640800"/>
              <a:gd name="connsiteY2" fmla="*/ 867772 h 4066911"/>
              <a:gd name="connsiteX3" fmla="*/ 640800 w 640800"/>
              <a:gd name="connsiteY3" fmla="*/ 914400 h 4066911"/>
              <a:gd name="connsiteX4" fmla="*/ 640800 w 640800"/>
              <a:gd name="connsiteY4" fmla="*/ 3426647 h 4066911"/>
              <a:gd name="connsiteX5" fmla="*/ 535 w 640800"/>
              <a:gd name="connsiteY5" fmla="*/ 4066911 h 4066911"/>
              <a:gd name="connsiteX6" fmla="*/ 535 w 640800"/>
              <a:gd name="connsiteY6" fmla="*/ 914400 h 4066911"/>
              <a:gd name="connsiteX7" fmla="*/ 0 w 640800"/>
              <a:gd name="connsiteY7" fmla="*/ 914400 h 40669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0800" h="4066911">
                <a:moveTo>
                  <a:pt x="0" y="0"/>
                </a:moveTo>
                <a:lnTo>
                  <a:pt x="640800" y="0"/>
                </a:lnTo>
                <a:lnTo>
                  <a:pt x="640800" y="867772"/>
                </a:lnTo>
                <a:lnTo>
                  <a:pt x="640800" y="914400"/>
                </a:lnTo>
                <a:lnTo>
                  <a:pt x="640800" y="3426647"/>
                </a:lnTo>
                <a:lnTo>
                  <a:pt x="535" y="4066911"/>
                </a:lnTo>
                <a:lnTo>
                  <a:pt x="535" y="914400"/>
                </a:lnTo>
                <a:lnTo>
                  <a:pt x="0" y="914400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 dirty="0" err="1"/>
          </a:p>
        </p:txBody>
      </p:sp>
      <p:sp>
        <p:nvSpPr>
          <p:cNvPr id="125" name="Полилиния: фигура 124">
            <a:extLst>
              <a:ext uri="{FF2B5EF4-FFF2-40B4-BE49-F238E27FC236}">
                <a16:creationId xmlns:a16="http://schemas.microsoft.com/office/drawing/2014/main" id="{091B8521-7793-4693-B444-4C03B3B4A9CD}"/>
              </a:ext>
            </a:extLst>
          </p:cNvPr>
          <p:cNvSpPr/>
          <p:nvPr userDrawn="1"/>
        </p:nvSpPr>
        <p:spPr>
          <a:xfrm>
            <a:off x="-1" y="1"/>
            <a:ext cx="241108" cy="4816587"/>
          </a:xfrm>
          <a:custGeom>
            <a:avLst/>
            <a:gdLst>
              <a:gd name="connsiteX0" fmla="*/ 0 w 241108"/>
              <a:gd name="connsiteY0" fmla="*/ 0 h 4816587"/>
              <a:gd name="connsiteX1" fmla="*/ 241108 w 241108"/>
              <a:gd name="connsiteY1" fmla="*/ 0 h 4816587"/>
              <a:gd name="connsiteX2" fmla="*/ 241108 w 241108"/>
              <a:gd name="connsiteY2" fmla="*/ 870342 h 4816587"/>
              <a:gd name="connsiteX3" fmla="*/ 241107 w 241108"/>
              <a:gd name="connsiteY3" fmla="*/ 870342 h 4816587"/>
              <a:gd name="connsiteX4" fmla="*/ 241107 w 241108"/>
              <a:gd name="connsiteY4" fmla="*/ 1211052 h 4816587"/>
              <a:gd name="connsiteX5" fmla="*/ 239844 w 241108"/>
              <a:gd name="connsiteY5" fmla="*/ 1211052 h 4816587"/>
              <a:gd name="connsiteX6" fmla="*/ 239844 w 241108"/>
              <a:gd name="connsiteY6" fmla="*/ 4576743 h 4816587"/>
              <a:gd name="connsiteX7" fmla="*/ 0 w 241108"/>
              <a:gd name="connsiteY7" fmla="*/ 4816587 h 4816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1108" h="4816587">
                <a:moveTo>
                  <a:pt x="0" y="0"/>
                </a:moveTo>
                <a:lnTo>
                  <a:pt x="241108" y="0"/>
                </a:lnTo>
                <a:lnTo>
                  <a:pt x="241108" y="870342"/>
                </a:lnTo>
                <a:lnTo>
                  <a:pt x="241107" y="870342"/>
                </a:lnTo>
                <a:lnTo>
                  <a:pt x="241107" y="1211052"/>
                </a:lnTo>
                <a:lnTo>
                  <a:pt x="239844" y="1211052"/>
                </a:lnTo>
                <a:lnTo>
                  <a:pt x="239844" y="4576743"/>
                </a:lnTo>
                <a:lnTo>
                  <a:pt x="0" y="4816587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73000">
                <a:schemeClr val="accent2">
                  <a:lumMod val="75000"/>
                </a:schemeClr>
              </a:gs>
            </a:gsLst>
            <a:lin ang="16200000" scaled="1"/>
            <a:tileRect/>
          </a:gradFill>
          <a:ln w="635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28" name="Текст 39">
            <a:extLst>
              <a:ext uri="{FF2B5EF4-FFF2-40B4-BE49-F238E27FC236}">
                <a16:creationId xmlns:a16="http://schemas.microsoft.com/office/drawing/2014/main" id="{4177F1F4-2CA1-4AF9-87CA-005A9747E0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23629" y="4257092"/>
            <a:ext cx="6176427" cy="1286506"/>
          </a:xfrm>
        </p:spPr>
        <p:txBody>
          <a:bodyPr wrap="square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sp>
        <p:nvSpPr>
          <p:cNvPr id="131" name="Рисунок 10">
            <a:extLst>
              <a:ext uri="{FF2B5EF4-FFF2-40B4-BE49-F238E27FC236}">
                <a16:creationId xmlns:a16="http://schemas.microsoft.com/office/drawing/2014/main" id="{B6AA3FB8-AFE3-4F22-A75F-31D9DBFF830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94576" y="0"/>
            <a:ext cx="4897424" cy="6858000"/>
          </a:xfr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66365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едлитель с диагональным паттерном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араллелограмм 6">
            <a:extLst>
              <a:ext uri="{FF2B5EF4-FFF2-40B4-BE49-F238E27FC236}">
                <a16:creationId xmlns:a16="http://schemas.microsoft.com/office/drawing/2014/main" id="{AA4AF783-430B-4C8F-8FCF-932803F467F5}"/>
              </a:ext>
            </a:extLst>
          </p:cNvPr>
          <p:cNvSpPr/>
          <p:nvPr/>
        </p:nvSpPr>
        <p:spPr>
          <a:xfrm>
            <a:off x="354860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Параллелограмм 7">
            <a:extLst>
              <a:ext uri="{FF2B5EF4-FFF2-40B4-BE49-F238E27FC236}">
                <a16:creationId xmlns:a16="http://schemas.microsoft.com/office/drawing/2014/main" id="{FEEDDF4E-FD57-41B2-B225-953B6EA027D1}"/>
              </a:ext>
            </a:extLst>
          </p:cNvPr>
          <p:cNvSpPr/>
          <p:nvPr/>
        </p:nvSpPr>
        <p:spPr>
          <a:xfrm>
            <a:off x="594126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Полилиния: фигура 22">
            <a:extLst>
              <a:ext uri="{FF2B5EF4-FFF2-40B4-BE49-F238E27FC236}">
                <a16:creationId xmlns:a16="http://schemas.microsoft.com/office/drawing/2014/main" id="{15FF8BE3-CB84-49EC-B277-FD4E2EEE5729}"/>
              </a:ext>
            </a:extLst>
          </p:cNvPr>
          <p:cNvSpPr/>
          <p:nvPr/>
        </p:nvSpPr>
        <p:spPr>
          <a:xfrm>
            <a:off x="8333928" y="0"/>
            <a:ext cx="3858073" cy="3434914"/>
          </a:xfrm>
          <a:custGeom>
            <a:avLst/>
            <a:gdLst>
              <a:gd name="connsiteX0" fmla="*/ 3304216 w 3858073"/>
              <a:gd name="connsiteY0" fmla="*/ 0 h 3434914"/>
              <a:gd name="connsiteX1" fmla="*/ 3858073 w 3858073"/>
              <a:gd name="connsiteY1" fmla="*/ 0 h 3434914"/>
              <a:gd name="connsiteX2" fmla="*/ 3858073 w 3858073"/>
              <a:gd name="connsiteY2" fmla="*/ 668275 h 3434914"/>
              <a:gd name="connsiteX3" fmla="*/ 1196704 w 3858073"/>
              <a:gd name="connsiteY3" fmla="*/ 3434914 h 3434914"/>
              <a:gd name="connsiteX4" fmla="*/ 0 w 3858073"/>
              <a:gd name="connsiteY4" fmla="*/ 3434914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858073" h="3434914">
                <a:moveTo>
                  <a:pt x="3304216" y="0"/>
                </a:moveTo>
                <a:lnTo>
                  <a:pt x="3858073" y="0"/>
                </a:lnTo>
                <a:lnTo>
                  <a:pt x="3858073" y="668275"/>
                </a:lnTo>
                <a:lnTo>
                  <a:pt x="1196704" y="3434914"/>
                </a:lnTo>
                <a:lnTo>
                  <a:pt x="0" y="3434914"/>
                </a:lnTo>
                <a:close/>
              </a:path>
            </a:pathLst>
          </a:cu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олилиния: фигура 19">
            <a:extLst>
              <a:ext uri="{FF2B5EF4-FFF2-40B4-BE49-F238E27FC236}">
                <a16:creationId xmlns:a16="http://schemas.microsoft.com/office/drawing/2014/main" id="{BC1BD6F0-FD89-4582-B4EC-82A01A1E99D9}"/>
              </a:ext>
            </a:extLst>
          </p:cNvPr>
          <p:cNvSpPr/>
          <p:nvPr/>
        </p:nvSpPr>
        <p:spPr>
          <a:xfrm>
            <a:off x="10726588" y="1911538"/>
            <a:ext cx="1465413" cy="1523377"/>
          </a:xfrm>
          <a:custGeom>
            <a:avLst/>
            <a:gdLst>
              <a:gd name="connsiteX0" fmla="*/ 1465413 w 1465413"/>
              <a:gd name="connsiteY0" fmla="*/ 0 h 1523377"/>
              <a:gd name="connsiteX1" fmla="*/ 1465413 w 1465413"/>
              <a:gd name="connsiteY1" fmla="*/ 1244039 h 1523377"/>
              <a:gd name="connsiteX2" fmla="*/ 1196704 w 1465413"/>
              <a:gd name="connsiteY2" fmla="*/ 1523377 h 1523377"/>
              <a:gd name="connsiteX3" fmla="*/ 0 w 1465413"/>
              <a:gd name="connsiteY3" fmla="*/ 1523377 h 15233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65413" h="1523377">
                <a:moveTo>
                  <a:pt x="1465413" y="0"/>
                </a:moveTo>
                <a:lnTo>
                  <a:pt x="1465413" y="1244039"/>
                </a:lnTo>
                <a:lnTo>
                  <a:pt x="1196704" y="1523377"/>
                </a:lnTo>
                <a:lnTo>
                  <a:pt x="0" y="1523377"/>
                </a:lnTo>
                <a:close/>
              </a:path>
            </a:pathLst>
          </a:cu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Параллелограмм 10">
            <a:extLst>
              <a:ext uri="{FF2B5EF4-FFF2-40B4-BE49-F238E27FC236}">
                <a16:creationId xmlns:a16="http://schemas.microsoft.com/office/drawing/2014/main" id="{F49C9FF9-DE43-4D1D-95D0-0E28AF19877B}"/>
              </a:ext>
            </a:extLst>
          </p:cNvPr>
          <p:cNvSpPr/>
          <p:nvPr/>
        </p:nvSpPr>
        <p:spPr>
          <a:xfrm>
            <a:off x="1450951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Параллелограмм 11">
            <a:extLst>
              <a:ext uri="{FF2B5EF4-FFF2-40B4-BE49-F238E27FC236}">
                <a16:creationId xmlns:a16="http://schemas.microsoft.com/office/drawing/2014/main" id="{F425DAFD-1B29-415B-9704-2E332FB65534}"/>
              </a:ext>
            </a:extLst>
          </p:cNvPr>
          <p:cNvSpPr/>
          <p:nvPr/>
        </p:nvSpPr>
        <p:spPr>
          <a:xfrm>
            <a:off x="3843613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Параллелограмм 12">
            <a:extLst>
              <a:ext uri="{FF2B5EF4-FFF2-40B4-BE49-F238E27FC236}">
                <a16:creationId xmlns:a16="http://schemas.microsoft.com/office/drawing/2014/main" id="{998314EC-5479-4B3A-B38D-053EE212E841}"/>
              </a:ext>
            </a:extLst>
          </p:cNvPr>
          <p:cNvSpPr/>
          <p:nvPr/>
        </p:nvSpPr>
        <p:spPr>
          <a:xfrm>
            <a:off x="6236274" y="3423086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Полилиния: фигура 25">
            <a:extLst>
              <a:ext uri="{FF2B5EF4-FFF2-40B4-BE49-F238E27FC236}">
                <a16:creationId xmlns:a16="http://schemas.microsoft.com/office/drawing/2014/main" id="{6214A511-888A-4563-85FF-ACEA85EBFFDB}"/>
              </a:ext>
            </a:extLst>
          </p:cNvPr>
          <p:cNvSpPr/>
          <p:nvPr/>
        </p:nvSpPr>
        <p:spPr>
          <a:xfrm>
            <a:off x="8628932" y="3423086"/>
            <a:ext cx="3563069" cy="3434914"/>
          </a:xfrm>
          <a:custGeom>
            <a:avLst/>
            <a:gdLst>
              <a:gd name="connsiteX0" fmla="*/ 3304216 w 3563069"/>
              <a:gd name="connsiteY0" fmla="*/ 0 h 3434914"/>
              <a:gd name="connsiteX1" fmla="*/ 3563069 w 3563069"/>
              <a:gd name="connsiteY1" fmla="*/ 0 h 3434914"/>
              <a:gd name="connsiteX2" fmla="*/ 3563069 w 3563069"/>
              <a:gd name="connsiteY2" fmla="*/ 974948 h 3434914"/>
              <a:gd name="connsiteX3" fmla="*/ 1196704 w 3563069"/>
              <a:gd name="connsiteY3" fmla="*/ 3434914 h 3434914"/>
              <a:gd name="connsiteX4" fmla="*/ 0 w 3563069"/>
              <a:gd name="connsiteY4" fmla="*/ 3434914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3069" h="3434914">
                <a:moveTo>
                  <a:pt x="3304216" y="0"/>
                </a:moveTo>
                <a:lnTo>
                  <a:pt x="3563069" y="0"/>
                </a:lnTo>
                <a:lnTo>
                  <a:pt x="3563069" y="974948"/>
                </a:lnTo>
                <a:lnTo>
                  <a:pt x="1196704" y="3434914"/>
                </a:lnTo>
                <a:lnTo>
                  <a:pt x="0" y="3434914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Параллелограмм 14">
            <a:extLst>
              <a:ext uri="{FF2B5EF4-FFF2-40B4-BE49-F238E27FC236}">
                <a16:creationId xmlns:a16="http://schemas.microsoft.com/office/drawing/2014/main" id="{31F734ED-68BC-42E0-8B68-128A5E70D998}"/>
              </a:ext>
            </a:extLst>
          </p:cNvPr>
          <p:cNvSpPr/>
          <p:nvPr/>
        </p:nvSpPr>
        <p:spPr>
          <a:xfrm>
            <a:off x="1163025" y="0"/>
            <a:ext cx="4500920" cy="3434914"/>
          </a:xfrm>
          <a:prstGeom prst="parallelogram">
            <a:avLst>
              <a:gd name="adj" fmla="val 96195"/>
            </a:avLst>
          </a:pr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Полилиния: фигура 34">
            <a:extLst>
              <a:ext uri="{FF2B5EF4-FFF2-40B4-BE49-F238E27FC236}">
                <a16:creationId xmlns:a16="http://schemas.microsoft.com/office/drawing/2014/main" id="{9725B0E4-7EE0-4DAD-9228-52E5FF35C598}"/>
              </a:ext>
            </a:extLst>
          </p:cNvPr>
          <p:cNvSpPr/>
          <p:nvPr/>
        </p:nvSpPr>
        <p:spPr>
          <a:xfrm>
            <a:off x="0" y="3423086"/>
            <a:ext cx="3566290" cy="3434914"/>
          </a:xfrm>
          <a:custGeom>
            <a:avLst/>
            <a:gdLst>
              <a:gd name="connsiteX0" fmla="*/ 2369586 w 3566290"/>
              <a:gd name="connsiteY0" fmla="*/ 0 h 3434914"/>
              <a:gd name="connsiteX1" fmla="*/ 3566290 w 3566290"/>
              <a:gd name="connsiteY1" fmla="*/ 0 h 3434914"/>
              <a:gd name="connsiteX2" fmla="*/ 262074 w 3566290"/>
              <a:gd name="connsiteY2" fmla="*/ 3434914 h 3434914"/>
              <a:gd name="connsiteX3" fmla="*/ 0 w 3566290"/>
              <a:gd name="connsiteY3" fmla="*/ 3434914 h 3434914"/>
              <a:gd name="connsiteX4" fmla="*/ 0 w 3566290"/>
              <a:gd name="connsiteY4" fmla="*/ 2463315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66290" h="3434914">
                <a:moveTo>
                  <a:pt x="2369586" y="0"/>
                </a:moveTo>
                <a:lnTo>
                  <a:pt x="3566290" y="0"/>
                </a:lnTo>
                <a:lnTo>
                  <a:pt x="262074" y="3434914"/>
                </a:lnTo>
                <a:lnTo>
                  <a:pt x="0" y="3434914"/>
                </a:lnTo>
                <a:lnTo>
                  <a:pt x="0" y="2463315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Полилиния: фигура 28">
            <a:extLst>
              <a:ext uri="{FF2B5EF4-FFF2-40B4-BE49-F238E27FC236}">
                <a16:creationId xmlns:a16="http://schemas.microsoft.com/office/drawing/2014/main" id="{06D2A420-D43F-40FC-9401-D5154F54DB05}"/>
              </a:ext>
            </a:extLst>
          </p:cNvPr>
          <p:cNvSpPr/>
          <p:nvPr/>
        </p:nvSpPr>
        <p:spPr>
          <a:xfrm>
            <a:off x="1" y="0"/>
            <a:ext cx="3453117" cy="3434914"/>
          </a:xfrm>
          <a:custGeom>
            <a:avLst/>
            <a:gdLst>
              <a:gd name="connsiteX0" fmla="*/ 2256413 w 3453117"/>
              <a:gd name="connsiteY0" fmla="*/ 0 h 3434914"/>
              <a:gd name="connsiteX1" fmla="*/ 3453117 w 3453117"/>
              <a:gd name="connsiteY1" fmla="*/ 0 h 3434914"/>
              <a:gd name="connsiteX2" fmla="*/ 148901 w 3453117"/>
              <a:gd name="connsiteY2" fmla="*/ 3434914 h 3434914"/>
              <a:gd name="connsiteX3" fmla="*/ 0 w 3453117"/>
              <a:gd name="connsiteY3" fmla="*/ 3434914 h 3434914"/>
              <a:gd name="connsiteX4" fmla="*/ 0 w 3453117"/>
              <a:gd name="connsiteY4" fmla="*/ 2345665 h 3434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53117" h="3434914">
                <a:moveTo>
                  <a:pt x="2256413" y="0"/>
                </a:moveTo>
                <a:lnTo>
                  <a:pt x="3453117" y="0"/>
                </a:lnTo>
                <a:lnTo>
                  <a:pt x="148901" y="3434914"/>
                </a:lnTo>
                <a:lnTo>
                  <a:pt x="0" y="3434914"/>
                </a:lnTo>
                <a:lnTo>
                  <a:pt x="0" y="2345665"/>
                </a:lnTo>
                <a:close/>
              </a:path>
            </a:pathLst>
          </a:custGeom>
          <a:gradFill>
            <a:gsLst>
              <a:gs pos="0">
                <a:srgbClr val="002458">
                  <a:alpha val="68000"/>
                </a:srgbClr>
              </a:gs>
              <a:gs pos="77000">
                <a:srgbClr val="001F4C">
                  <a:alpha val="91000"/>
                </a:srgb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Полилиния: фигура 31">
            <a:extLst>
              <a:ext uri="{FF2B5EF4-FFF2-40B4-BE49-F238E27FC236}">
                <a16:creationId xmlns:a16="http://schemas.microsoft.com/office/drawing/2014/main" id="{C2D606E4-CD58-4A76-ADB5-52BB86319F80}"/>
              </a:ext>
            </a:extLst>
          </p:cNvPr>
          <p:cNvSpPr/>
          <p:nvPr/>
        </p:nvSpPr>
        <p:spPr>
          <a:xfrm>
            <a:off x="1" y="3423087"/>
            <a:ext cx="1355463" cy="1409079"/>
          </a:xfrm>
          <a:custGeom>
            <a:avLst/>
            <a:gdLst>
              <a:gd name="connsiteX0" fmla="*/ 158759 w 1355463"/>
              <a:gd name="connsiteY0" fmla="*/ 0 h 1409079"/>
              <a:gd name="connsiteX1" fmla="*/ 1355463 w 1355463"/>
              <a:gd name="connsiteY1" fmla="*/ 0 h 1409079"/>
              <a:gd name="connsiteX2" fmla="*/ 0 w 1355463"/>
              <a:gd name="connsiteY2" fmla="*/ 1409079 h 1409079"/>
              <a:gd name="connsiteX3" fmla="*/ 0 w 1355463"/>
              <a:gd name="connsiteY3" fmla="*/ 165039 h 1409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55463" h="1409079">
                <a:moveTo>
                  <a:pt x="158759" y="0"/>
                </a:moveTo>
                <a:lnTo>
                  <a:pt x="1355463" y="0"/>
                </a:lnTo>
                <a:lnTo>
                  <a:pt x="0" y="1409079"/>
                </a:lnTo>
                <a:lnTo>
                  <a:pt x="0" y="165039"/>
                </a:lnTo>
                <a:close/>
              </a:path>
            </a:pathLst>
          </a:custGeom>
          <a:gradFill>
            <a:gsLst>
              <a:gs pos="0">
                <a:srgbClr val="002C6C">
                  <a:alpha val="66000"/>
                </a:srgbClr>
              </a:gs>
              <a:gs pos="77000">
                <a:srgbClr val="002356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133BE75-A31E-402E-93D1-FF823C1D9D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40" name="Текст 39">
            <a:extLst>
              <a:ext uri="{FF2B5EF4-FFF2-40B4-BE49-F238E27FC236}">
                <a16:creationId xmlns:a16="http://schemas.microsoft.com/office/drawing/2014/main" id="{8F572E13-DCA4-42FB-8A87-2C3147194C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8" y="302719"/>
            <a:ext cx="9272771" cy="135421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</p:spTree>
    <p:extLst>
      <p:ext uri="{BB962C8B-B14F-4D97-AF65-F5344CB8AC3E}">
        <p14:creationId xmlns:p14="http://schemas.microsoft.com/office/powerpoint/2010/main" val="2740837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едлитель с круговым паттерном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Дуга 18">
            <a:extLst>
              <a:ext uri="{FF2B5EF4-FFF2-40B4-BE49-F238E27FC236}">
                <a16:creationId xmlns:a16="http://schemas.microsoft.com/office/drawing/2014/main" id="{4DB44090-C67B-4CDA-B217-D2DD4B52282E}"/>
              </a:ext>
            </a:extLst>
          </p:cNvPr>
          <p:cNvSpPr/>
          <p:nvPr/>
        </p:nvSpPr>
        <p:spPr bwMode="auto">
          <a:xfrm rot="3600000">
            <a:off x="4181341" y="1527645"/>
            <a:ext cx="3788737" cy="3788737"/>
          </a:xfrm>
          <a:prstGeom prst="arc">
            <a:avLst>
              <a:gd name="adj1" fmla="val 12535448"/>
              <a:gd name="adj2" fmla="val 5738127"/>
            </a:avLst>
          </a:prstGeom>
          <a:noFill/>
          <a:ln w="952500" cap="flat" cmpd="sng" algn="ctr">
            <a:gradFill>
              <a:gsLst>
                <a:gs pos="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Дуга 20">
            <a:extLst>
              <a:ext uri="{FF2B5EF4-FFF2-40B4-BE49-F238E27FC236}">
                <a16:creationId xmlns:a16="http://schemas.microsoft.com/office/drawing/2014/main" id="{DDABABAE-C084-488B-AB1F-4807DD67106D}"/>
              </a:ext>
            </a:extLst>
          </p:cNvPr>
          <p:cNvSpPr/>
          <p:nvPr/>
        </p:nvSpPr>
        <p:spPr bwMode="auto">
          <a:xfrm rot="3600000">
            <a:off x="3263679" y="596679"/>
            <a:ext cx="5664641" cy="5664641"/>
          </a:xfrm>
          <a:prstGeom prst="arc">
            <a:avLst>
              <a:gd name="adj1" fmla="val 7600294"/>
              <a:gd name="adj2" fmla="val 18090487"/>
            </a:avLst>
          </a:prstGeom>
          <a:noFill/>
          <a:ln w="952500" cap="flat" cmpd="sng" algn="ctr">
            <a:gradFill>
              <a:gsLst>
                <a:gs pos="100000">
                  <a:schemeClr val="accent2"/>
                </a:gs>
                <a:gs pos="14000">
                  <a:schemeClr val="accent2">
                    <a:lumMod val="75000"/>
                  </a:schemeClr>
                </a:gs>
              </a:gsLst>
              <a:lin ang="5400000" scaled="1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Дуга 21">
            <a:extLst>
              <a:ext uri="{FF2B5EF4-FFF2-40B4-BE49-F238E27FC236}">
                <a16:creationId xmlns:a16="http://schemas.microsoft.com/office/drawing/2014/main" id="{E806DCA9-2C88-42F3-8A16-28C6BB63EFCA}"/>
              </a:ext>
            </a:extLst>
          </p:cNvPr>
          <p:cNvSpPr/>
          <p:nvPr/>
        </p:nvSpPr>
        <p:spPr bwMode="auto">
          <a:xfrm rot="3600000">
            <a:off x="2308029" y="-358971"/>
            <a:ext cx="7575942" cy="7575942"/>
          </a:xfrm>
          <a:prstGeom prst="arc">
            <a:avLst>
              <a:gd name="adj1" fmla="val 13279509"/>
              <a:gd name="adj2" fmla="val 21424019"/>
            </a:avLst>
          </a:prstGeom>
          <a:noFill/>
          <a:ln w="952500" cap="flat" cmpd="sng" algn="ctr">
            <a:gradFill>
              <a:gsLst>
                <a:gs pos="45000">
                  <a:schemeClr val="accent2"/>
                </a:gs>
                <a:gs pos="100000">
                  <a:schemeClr val="accent2">
                    <a:lumMod val="75000"/>
                  </a:schemeClr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Дуга 23">
            <a:extLst>
              <a:ext uri="{FF2B5EF4-FFF2-40B4-BE49-F238E27FC236}">
                <a16:creationId xmlns:a16="http://schemas.microsoft.com/office/drawing/2014/main" id="{C6B33325-73A3-424F-A577-F5C1CF382099}"/>
              </a:ext>
            </a:extLst>
          </p:cNvPr>
          <p:cNvSpPr/>
          <p:nvPr/>
        </p:nvSpPr>
        <p:spPr bwMode="auto">
          <a:xfrm rot="3600000">
            <a:off x="412319" y="-2254679"/>
            <a:ext cx="11367362" cy="11367360"/>
          </a:xfrm>
          <a:prstGeom prst="arc">
            <a:avLst>
              <a:gd name="adj1" fmla="val 4640343"/>
              <a:gd name="adj2" fmla="val 8874283"/>
            </a:avLst>
          </a:prstGeom>
          <a:noFill/>
          <a:ln w="952500" cap="flat" cmpd="sng" algn="ctr">
            <a:gradFill>
              <a:gsLst>
                <a:gs pos="100000">
                  <a:schemeClr val="accent2"/>
                </a:gs>
                <a:gs pos="0">
                  <a:schemeClr val="accent2">
                    <a:lumMod val="75000"/>
                  </a:schemeClr>
                </a:gs>
              </a:gsLst>
              <a:lin ang="0" scaled="0"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Дуга 24">
            <a:extLst>
              <a:ext uri="{FF2B5EF4-FFF2-40B4-BE49-F238E27FC236}">
                <a16:creationId xmlns:a16="http://schemas.microsoft.com/office/drawing/2014/main" id="{2A932059-F943-480E-BA02-956B34060D1A}"/>
              </a:ext>
            </a:extLst>
          </p:cNvPr>
          <p:cNvSpPr/>
          <p:nvPr/>
        </p:nvSpPr>
        <p:spPr bwMode="auto">
          <a:xfrm rot="3600000">
            <a:off x="1337742" y="-1329258"/>
            <a:ext cx="9516517" cy="9516517"/>
          </a:xfrm>
          <a:prstGeom prst="arc">
            <a:avLst>
              <a:gd name="adj1" fmla="val 2616407"/>
              <a:gd name="adj2" fmla="val 12612573"/>
            </a:avLst>
          </a:prstGeom>
          <a:noFill/>
          <a:ln w="9525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Дуга 26">
            <a:extLst>
              <a:ext uri="{FF2B5EF4-FFF2-40B4-BE49-F238E27FC236}">
                <a16:creationId xmlns:a16="http://schemas.microsoft.com/office/drawing/2014/main" id="{259E656F-7DF7-4302-83B1-89FF45131507}"/>
              </a:ext>
            </a:extLst>
          </p:cNvPr>
          <p:cNvSpPr/>
          <p:nvPr userDrawn="1"/>
        </p:nvSpPr>
        <p:spPr bwMode="auto">
          <a:xfrm rot="3600000">
            <a:off x="-590550" y="-3257550"/>
            <a:ext cx="13373100" cy="13373100"/>
          </a:xfrm>
          <a:prstGeom prst="arc">
            <a:avLst>
              <a:gd name="adj1" fmla="val 9878533"/>
              <a:gd name="adj2" fmla="val 20724111"/>
            </a:avLst>
          </a:prstGeom>
          <a:noFill/>
          <a:ln w="9525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0" name="Текст 39">
            <a:extLst>
              <a:ext uri="{FF2B5EF4-FFF2-40B4-BE49-F238E27FC236}">
                <a16:creationId xmlns:a16="http://schemas.microsoft.com/office/drawing/2014/main" id="{8F572E13-DCA4-42FB-8A87-2C3147194C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3628" y="302719"/>
            <a:ext cx="9272771" cy="1354217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44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ru-RU" dirty="0"/>
              <a:t>Название раздела</a:t>
            </a:r>
            <a:br>
              <a:rPr lang="ru-RU" dirty="0"/>
            </a:br>
            <a:r>
              <a:rPr lang="ru-RU" dirty="0"/>
              <a:t>в несколько стро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133BE75-A31E-402E-93D1-FF823C1D9D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540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14">
            <a:extLst>
              <a:ext uri="{FF2B5EF4-FFF2-40B4-BE49-F238E27FC236}">
                <a16:creationId xmlns:a16="http://schemas.microsoft.com/office/drawing/2014/main" id="{4F084705-79E6-42DD-98F2-B35FEB439D9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89979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268652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9" name="Рисунок 14">
            <a:extLst>
              <a:ext uri="{FF2B5EF4-FFF2-40B4-BE49-F238E27FC236}">
                <a16:creationId xmlns:a16="http://schemas.microsoft.com/office/drawing/2014/main" id="{E9BA6B73-E6D8-4853-9C3E-ECE5A668CE4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316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60247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справа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76120" y="0"/>
            <a:ext cx="5015880" cy="6858000"/>
          </a:xfrm>
        </p:spPr>
        <p:txBody>
          <a:bodyPr/>
          <a:lstStyle/>
          <a:p>
            <a:endParaRPr lang="ru-RU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68651D85-208E-4EFB-B852-FE9A38347B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6127751" cy="297962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D3C38CB1-3CDA-4BA0-A85D-19817FD273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8028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в плашк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>
            <a:extLst>
              <a:ext uri="{FF2B5EF4-FFF2-40B4-BE49-F238E27FC236}">
                <a16:creationId xmlns:a16="http://schemas.microsoft.com/office/drawing/2014/main" id="{72FF218E-5F3A-4F2F-8997-BB9B1F34DB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95900" y="1089024"/>
            <a:ext cx="6588114" cy="5219701"/>
          </a:xfr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7">
            <a:extLst>
              <a:ext uri="{FF2B5EF4-FFF2-40B4-BE49-F238E27FC236}">
                <a16:creationId xmlns:a16="http://schemas.microsoft.com/office/drawing/2014/main" id="{6F33DC07-680B-4944-8323-BA17307FDB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5" name="Текст 3">
            <a:extLst>
              <a:ext uri="{FF2B5EF4-FFF2-40B4-BE49-F238E27FC236}">
                <a16:creationId xmlns:a16="http://schemas.microsoft.com/office/drawing/2014/main" id="{27E1ACDD-7821-44EC-BE98-C76A8D5D89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64615F7-C467-4304-8974-F90E9E1E5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939316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 фото люд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94" name="Рисунок 13">
            <a:extLst>
              <a:ext uri="{FF2B5EF4-FFF2-40B4-BE49-F238E27FC236}">
                <a16:creationId xmlns:a16="http://schemas.microsoft.com/office/drawing/2014/main" id="{E791B79F-B02E-451B-917F-F7E64554631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7315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5" name="Рисунок 13">
            <a:extLst>
              <a:ext uri="{FF2B5EF4-FFF2-40B4-BE49-F238E27FC236}">
                <a16:creationId xmlns:a16="http://schemas.microsoft.com/office/drawing/2014/main" id="{6C2AC61C-9155-4028-9355-CBD9F23FE7D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7315" y="336730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6" name="Рисунок 13">
            <a:extLst>
              <a:ext uri="{FF2B5EF4-FFF2-40B4-BE49-F238E27FC236}">
                <a16:creationId xmlns:a16="http://schemas.microsoft.com/office/drawing/2014/main" id="{B6110899-C7C2-42CA-A239-960D1209AB4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67315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7" name="Рисунок 13">
            <a:extLst>
              <a:ext uri="{FF2B5EF4-FFF2-40B4-BE49-F238E27FC236}">
                <a16:creationId xmlns:a16="http://schemas.microsoft.com/office/drawing/2014/main" id="{844FBDB0-EFD0-4412-895B-27E429D2D7A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00846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8" name="Рисунок 13">
            <a:extLst>
              <a:ext uri="{FF2B5EF4-FFF2-40B4-BE49-F238E27FC236}">
                <a16:creationId xmlns:a16="http://schemas.microsoft.com/office/drawing/2014/main" id="{35B74EFC-C54B-498B-B91A-1B65939C840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39188" y="1490009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9" name="Рисунок 13">
            <a:extLst>
              <a:ext uri="{FF2B5EF4-FFF2-40B4-BE49-F238E27FC236}">
                <a16:creationId xmlns:a16="http://schemas.microsoft.com/office/drawing/2014/main" id="{C97F030B-7237-4B1E-AC59-451930CFC3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0846" y="336730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0" name="Рисунок 13">
            <a:extLst>
              <a:ext uri="{FF2B5EF4-FFF2-40B4-BE49-F238E27FC236}">
                <a16:creationId xmlns:a16="http://schemas.microsoft.com/office/drawing/2014/main" id="{9AE7D753-D524-4E9F-B522-7389A8E7735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39188" y="336037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1" name="Рисунок 13">
            <a:extLst>
              <a:ext uri="{FF2B5EF4-FFF2-40B4-BE49-F238E27FC236}">
                <a16:creationId xmlns:a16="http://schemas.microsoft.com/office/drawing/2014/main" id="{0DB976B9-B6F2-4400-A08E-0524A79AD7D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00846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02" name="Рисунок 13">
            <a:extLst>
              <a:ext uri="{FF2B5EF4-FFF2-40B4-BE49-F238E27FC236}">
                <a16:creationId xmlns:a16="http://schemas.microsoft.com/office/drawing/2014/main" id="{3A1C151D-DFF9-4DBF-9292-AEF08CD0A5A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39188" y="5244590"/>
            <a:ext cx="814909" cy="814909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F413EDC3-64DD-4902-8C7B-069794252BB7}"/>
              </a:ext>
            </a:extLst>
          </p:cNvPr>
          <p:cNvGrpSpPr/>
          <p:nvPr userDrawn="1"/>
        </p:nvGrpSpPr>
        <p:grpSpPr>
          <a:xfrm>
            <a:off x="341641" y="1264335"/>
            <a:ext cx="1266256" cy="1266256"/>
            <a:chOff x="420388" y="1500299"/>
            <a:chExt cx="1266256" cy="1266256"/>
          </a:xfrm>
        </p:grpSpPr>
        <p:sp>
          <p:nvSpPr>
            <p:cNvPr id="42" name="Дуга 41">
              <a:extLst>
                <a:ext uri="{FF2B5EF4-FFF2-40B4-BE49-F238E27FC236}">
                  <a16:creationId xmlns:a16="http://schemas.microsoft.com/office/drawing/2014/main" id="{17EFA7A7-0C69-45B8-B85B-68B84D6BC1DC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9659496"/>
                <a:gd name="adj2" fmla="val 19981589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9" name="Дуга 48">
              <a:extLst>
                <a:ext uri="{FF2B5EF4-FFF2-40B4-BE49-F238E27FC236}">
                  <a16:creationId xmlns:a16="http://schemas.microsoft.com/office/drawing/2014/main" id="{8F24C6DF-7323-4949-AD1F-6857628D22E3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19044641"/>
                <a:gd name="adj2" fmla="val 8069024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0" name="Дуга 49">
              <a:extLst>
                <a:ext uri="{FF2B5EF4-FFF2-40B4-BE49-F238E27FC236}">
                  <a16:creationId xmlns:a16="http://schemas.microsoft.com/office/drawing/2014/main" id="{C3EC0ED3-E33C-4E12-A970-BD873393ED52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1215534"/>
                <a:gd name="adj2" fmla="val 275615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45F3A767-1E29-44F6-95D2-6EE827986E36}"/>
              </a:ext>
            </a:extLst>
          </p:cNvPr>
          <p:cNvGrpSpPr/>
          <p:nvPr userDrawn="1"/>
        </p:nvGrpSpPr>
        <p:grpSpPr>
          <a:xfrm>
            <a:off x="4075172" y="1264335"/>
            <a:ext cx="1266256" cy="1266256"/>
            <a:chOff x="420388" y="1500299"/>
            <a:chExt cx="1266256" cy="1266256"/>
          </a:xfrm>
        </p:grpSpPr>
        <p:sp>
          <p:nvSpPr>
            <p:cNvPr id="53" name="Дуга 52">
              <a:extLst>
                <a:ext uri="{FF2B5EF4-FFF2-40B4-BE49-F238E27FC236}">
                  <a16:creationId xmlns:a16="http://schemas.microsoft.com/office/drawing/2014/main" id="{45E626D3-FB35-4CB9-BFF6-7E2BAB7E316F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9659496"/>
                <a:gd name="adj2" fmla="val 19981589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4" name="Дуга 53">
              <a:extLst>
                <a:ext uri="{FF2B5EF4-FFF2-40B4-BE49-F238E27FC236}">
                  <a16:creationId xmlns:a16="http://schemas.microsoft.com/office/drawing/2014/main" id="{446CFCD8-300F-4513-8D14-8C7044A8FC63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19044641"/>
                <a:gd name="adj2" fmla="val 8069024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5" name="Дуга 54">
              <a:extLst>
                <a:ext uri="{FF2B5EF4-FFF2-40B4-BE49-F238E27FC236}">
                  <a16:creationId xmlns:a16="http://schemas.microsoft.com/office/drawing/2014/main" id="{0E9C807F-F0F3-46F9-8DA9-92EB09F6C182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1215534"/>
                <a:gd name="adj2" fmla="val 275615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F3C75F44-1A61-48B9-80FB-9B46252B7099}"/>
              </a:ext>
            </a:extLst>
          </p:cNvPr>
          <p:cNvGrpSpPr/>
          <p:nvPr userDrawn="1"/>
        </p:nvGrpSpPr>
        <p:grpSpPr>
          <a:xfrm>
            <a:off x="7808703" y="1264335"/>
            <a:ext cx="1266256" cy="1266256"/>
            <a:chOff x="420388" y="1500299"/>
            <a:chExt cx="1266256" cy="1266256"/>
          </a:xfrm>
        </p:grpSpPr>
        <p:sp>
          <p:nvSpPr>
            <p:cNvPr id="57" name="Дуга 56">
              <a:extLst>
                <a:ext uri="{FF2B5EF4-FFF2-40B4-BE49-F238E27FC236}">
                  <a16:creationId xmlns:a16="http://schemas.microsoft.com/office/drawing/2014/main" id="{68495857-EB89-43EF-86AB-E3F2D8C4999B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9659496"/>
                <a:gd name="adj2" fmla="val 19981589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8" name="Дуга 57">
              <a:extLst>
                <a:ext uri="{FF2B5EF4-FFF2-40B4-BE49-F238E27FC236}">
                  <a16:creationId xmlns:a16="http://schemas.microsoft.com/office/drawing/2014/main" id="{B04D0F66-9C83-44C6-90FE-23C0D4E7BA33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19044641"/>
                <a:gd name="adj2" fmla="val 8069024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9" name="Дуга 58">
              <a:extLst>
                <a:ext uri="{FF2B5EF4-FFF2-40B4-BE49-F238E27FC236}">
                  <a16:creationId xmlns:a16="http://schemas.microsoft.com/office/drawing/2014/main" id="{F29E88E8-DAB7-4558-8226-A2E9B104712B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1215534"/>
                <a:gd name="adj2" fmla="val 275615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id="{C424AA98-0D2D-4729-87FB-C6948F9D35C1}"/>
              </a:ext>
            </a:extLst>
          </p:cNvPr>
          <p:cNvGrpSpPr/>
          <p:nvPr userDrawn="1"/>
        </p:nvGrpSpPr>
        <p:grpSpPr>
          <a:xfrm>
            <a:off x="341641" y="3141626"/>
            <a:ext cx="1266256" cy="1266256"/>
            <a:chOff x="420388" y="1500299"/>
            <a:chExt cx="1266256" cy="1266256"/>
          </a:xfrm>
        </p:grpSpPr>
        <p:sp>
          <p:nvSpPr>
            <p:cNvPr id="103" name="Дуга 102">
              <a:extLst>
                <a:ext uri="{FF2B5EF4-FFF2-40B4-BE49-F238E27FC236}">
                  <a16:creationId xmlns:a16="http://schemas.microsoft.com/office/drawing/2014/main" id="{27C57461-F469-4FCA-B03C-290F8F7BE840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3479549"/>
                <a:gd name="adj2" fmla="val 16330110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4" name="Дуга 103">
              <a:extLst>
                <a:ext uri="{FF2B5EF4-FFF2-40B4-BE49-F238E27FC236}">
                  <a16:creationId xmlns:a16="http://schemas.microsoft.com/office/drawing/2014/main" id="{5E0E103C-1A74-4FD8-9C43-4A2767F7DDE1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1864941"/>
                <a:gd name="adj2" fmla="val 11656040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5" name="Дуга 104">
              <a:extLst>
                <a:ext uri="{FF2B5EF4-FFF2-40B4-BE49-F238E27FC236}">
                  <a16:creationId xmlns:a16="http://schemas.microsoft.com/office/drawing/2014/main" id="{B64D4A2C-B73E-4005-BD89-EC8555B41BE4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1215534"/>
                <a:gd name="adj2" fmla="val 275615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06" name="Группа 105">
            <a:extLst>
              <a:ext uri="{FF2B5EF4-FFF2-40B4-BE49-F238E27FC236}">
                <a16:creationId xmlns:a16="http://schemas.microsoft.com/office/drawing/2014/main" id="{27105FEF-C367-433E-A178-287ECFEDC465}"/>
              </a:ext>
            </a:extLst>
          </p:cNvPr>
          <p:cNvGrpSpPr/>
          <p:nvPr userDrawn="1"/>
        </p:nvGrpSpPr>
        <p:grpSpPr>
          <a:xfrm>
            <a:off x="4075172" y="3141626"/>
            <a:ext cx="1266256" cy="1266256"/>
            <a:chOff x="420388" y="1500299"/>
            <a:chExt cx="1266256" cy="1266256"/>
          </a:xfrm>
        </p:grpSpPr>
        <p:sp>
          <p:nvSpPr>
            <p:cNvPr id="107" name="Дуга 106">
              <a:extLst>
                <a:ext uri="{FF2B5EF4-FFF2-40B4-BE49-F238E27FC236}">
                  <a16:creationId xmlns:a16="http://schemas.microsoft.com/office/drawing/2014/main" id="{BE352B6A-6A1F-41E3-9563-58E8B85C3FE1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3479549"/>
                <a:gd name="adj2" fmla="val 16330110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8" name="Дуга 107">
              <a:extLst>
                <a:ext uri="{FF2B5EF4-FFF2-40B4-BE49-F238E27FC236}">
                  <a16:creationId xmlns:a16="http://schemas.microsoft.com/office/drawing/2014/main" id="{DE3FC914-0D37-47DE-B478-905A64550ECB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1864941"/>
                <a:gd name="adj2" fmla="val 11656040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9" name="Дуга 108">
              <a:extLst>
                <a:ext uri="{FF2B5EF4-FFF2-40B4-BE49-F238E27FC236}">
                  <a16:creationId xmlns:a16="http://schemas.microsoft.com/office/drawing/2014/main" id="{CD778CED-0683-41F7-8FE1-BF8F1BD176A4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1215534"/>
                <a:gd name="adj2" fmla="val 275615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80463AAC-291E-4DB1-B211-A65B8D4E73CB}"/>
              </a:ext>
            </a:extLst>
          </p:cNvPr>
          <p:cNvGrpSpPr/>
          <p:nvPr userDrawn="1"/>
        </p:nvGrpSpPr>
        <p:grpSpPr>
          <a:xfrm>
            <a:off x="7808703" y="3141626"/>
            <a:ext cx="1266256" cy="1266256"/>
            <a:chOff x="420388" y="1500299"/>
            <a:chExt cx="1266256" cy="1266256"/>
          </a:xfrm>
        </p:grpSpPr>
        <p:sp>
          <p:nvSpPr>
            <p:cNvPr id="111" name="Дуга 110">
              <a:extLst>
                <a:ext uri="{FF2B5EF4-FFF2-40B4-BE49-F238E27FC236}">
                  <a16:creationId xmlns:a16="http://schemas.microsoft.com/office/drawing/2014/main" id="{351ED7C9-3FA1-4D31-9E10-0AE41C492621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3479549"/>
                <a:gd name="adj2" fmla="val 16330110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12" name="Дуга 111">
              <a:extLst>
                <a:ext uri="{FF2B5EF4-FFF2-40B4-BE49-F238E27FC236}">
                  <a16:creationId xmlns:a16="http://schemas.microsoft.com/office/drawing/2014/main" id="{DE1EB6BE-80C8-486C-9D62-B3EFDB782896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1864941"/>
                <a:gd name="adj2" fmla="val 11656040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13" name="Дуга 112">
              <a:extLst>
                <a:ext uri="{FF2B5EF4-FFF2-40B4-BE49-F238E27FC236}">
                  <a16:creationId xmlns:a16="http://schemas.microsoft.com/office/drawing/2014/main" id="{C3847EFE-8E00-49D6-9251-F83ACD6826E1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1215534"/>
                <a:gd name="adj2" fmla="val 275615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0F9195E0-B5A7-4F18-B9DB-F3BD718E1E55}"/>
              </a:ext>
            </a:extLst>
          </p:cNvPr>
          <p:cNvGrpSpPr/>
          <p:nvPr userDrawn="1"/>
        </p:nvGrpSpPr>
        <p:grpSpPr>
          <a:xfrm>
            <a:off x="341641" y="5018916"/>
            <a:ext cx="1266256" cy="1266256"/>
            <a:chOff x="420388" y="1500299"/>
            <a:chExt cx="1266256" cy="1266256"/>
          </a:xfrm>
        </p:grpSpPr>
        <p:sp>
          <p:nvSpPr>
            <p:cNvPr id="115" name="Дуга 114">
              <a:extLst>
                <a:ext uri="{FF2B5EF4-FFF2-40B4-BE49-F238E27FC236}">
                  <a16:creationId xmlns:a16="http://schemas.microsoft.com/office/drawing/2014/main" id="{C3EAEC1A-B813-4B3F-81D4-D1A059981864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5532791"/>
                <a:gd name="adj2" fmla="val 16330110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16" name="Дуга 115">
              <a:extLst>
                <a:ext uri="{FF2B5EF4-FFF2-40B4-BE49-F238E27FC236}">
                  <a16:creationId xmlns:a16="http://schemas.microsoft.com/office/drawing/2014/main" id="{0EEFC1E2-874F-479B-B65C-B0C579F99CF9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8863225"/>
                <a:gd name="adj2" fmla="val 1767942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17" name="Дуга 116">
              <a:extLst>
                <a:ext uri="{FF2B5EF4-FFF2-40B4-BE49-F238E27FC236}">
                  <a16:creationId xmlns:a16="http://schemas.microsoft.com/office/drawing/2014/main" id="{F8C6A0E7-E262-498F-93F5-576D175B650A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9889921"/>
                <a:gd name="adj2" fmla="val 1000216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18" name="Группа 117">
            <a:extLst>
              <a:ext uri="{FF2B5EF4-FFF2-40B4-BE49-F238E27FC236}">
                <a16:creationId xmlns:a16="http://schemas.microsoft.com/office/drawing/2014/main" id="{2365A7F7-6CB2-413E-98A5-4E92EF897F79}"/>
              </a:ext>
            </a:extLst>
          </p:cNvPr>
          <p:cNvGrpSpPr/>
          <p:nvPr userDrawn="1"/>
        </p:nvGrpSpPr>
        <p:grpSpPr>
          <a:xfrm>
            <a:off x="4075172" y="5018916"/>
            <a:ext cx="1266256" cy="1266256"/>
            <a:chOff x="420388" y="1500299"/>
            <a:chExt cx="1266256" cy="1266256"/>
          </a:xfrm>
        </p:grpSpPr>
        <p:sp>
          <p:nvSpPr>
            <p:cNvPr id="119" name="Дуга 118">
              <a:extLst>
                <a:ext uri="{FF2B5EF4-FFF2-40B4-BE49-F238E27FC236}">
                  <a16:creationId xmlns:a16="http://schemas.microsoft.com/office/drawing/2014/main" id="{193A21F2-C89E-41EE-ADC6-7EDEBF451A5D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5532791"/>
                <a:gd name="adj2" fmla="val 16330110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0" name="Дуга 119">
              <a:extLst>
                <a:ext uri="{FF2B5EF4-FFF2-40B4-BE49-F238E27FC236}">
                  <a16:creationId xmlns:a16="http://schemas.microsoft.com/office/drawing/2014/main" id="{D43F6890-FECC-4F48-8880-AC3BBF1A63B8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8863225"/>
                <a:gd name="adj2" fmla="val 1767942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1" name="Дуга 120">
              <a:extLst>
                <a:ext uri="{FF2B5EF4-FFF2-40B4-BE49-F238E27FC236}">
                  <a16:creationId xmlns:a16="http://schemas.microsoft.com/office/drawing/2014/main" id="{E56B88D5-175C-4933-9F74-DB9EE1DC145D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9889921"/>
                <a:gd name="adj2" fmla="val 1000216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122" name="Группа 121">
            <a:extLst>
              <a:ext uri="{FF2B5EF4-FFF2-40B4-BE49-F238E27FC236}">
                <a16:creationId xmlns:a16="http://schemas.microsoft.com/office/drawing/2014/main" id="{B5141DB8-E3BA-4307-B6DB-CF50C0DCBBEA}"/>
              </a:ext>
            </a:extLst>
          </p:cNvPr>
          <p:cNvGrpSpPr/>
          <p:nvPr userDrawn="1"/>
        </p:nvGrpSpPr>
        <p:grpSpPr>
          <a:xfrm>
            <a:off x="7808703" y="5018916"/>
            <a:ext cx="1266256" cy="1266256"/>
            <a:chOff x="420388" y="1500299"/>
            <a:chExt cx="1266256" cy="1266256"/>
          </a:xfrm>
        </p:grpSpPr>
        <p:sp>
          <p:nvSpPr>
            <p:cNvPr id="123" name="Дуга 122">
              <a:extLst>
                <a:ext uri="{FF2B5EF4-FFF2-40B4-BE49-F238E27FC236}">
                  <a16:creationId xmlns:a16="http://schemas.microsoft.com/office/drawing/2014/main" id="{583B07EB-7537-4D1B-9670-C8D8CFAC031A}"/>
                </a:ext>
              </a:extLst>
            </p:cNvPr>
            <p:cNvSpPr/>
            <p:nvPr/>
          </p:nvSpPr>
          <p:spPr bwMode="auto">
            <a:xfrm>
              <a:off x="511609" y="1591520"/>
              <a:ext cx="1083814" cy="1083814"/>
            </a:xfrm>
            <a:prstGeom prst="arc">
              <a:avLst>
                <a:gd name="adj1" fmla="val 5532791"/>
                <a:gd name="adj2" fmla="val 16330110"/>
              </a:avLst>
            </a:prstGeom>
            <a:noFill/>
            <a:ln w="920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4" name="Дуга 123">
              <a:extLst>
                <a:ext uri="{FF2B5EF4-FFF2-40B4-BE49-F238E27FC236}">
                  <a16:creationId xmlns:a16="http://schemas.microsoft.com/office/drawing/2014/main" id="{B0973C0A-6EB8-44C3-99B0-16EA9D944F90}"/>
                </a:ext>
              </a:extLst>
            </p:cNvPr>
            <p:cNvSpPr/>
            <p:nvPr/>
          </p:nvSpPr>
          <p:spPr bwMode="auto">
            <a:xfrm>
              <a:off x="601652" y="1681561"/>
              <a:ext cx="903731" cy="903731"/>
            </a:xfrm>
            <a:prstGeom prst="arc">
              <a:avLst>
                <a:gd name="adj1" fmla="val 8863225"/>
                <a:gd name="adj2" fmla="val 1767942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25" name="Дуга 124">
              <a:extLst>
                <a:ext uri="{FF2B5EF4-FFF2-40B4-BE49-F238E27FC236}">
                  <a16:creationId xmlns:a16="http://schemas.microsoft.com/office/drawing/2014/main" id="{9F2F3D3C-88FB-4F78-B2E7-8E28AEFA60C1}"/>
                </a:ext>
              </a:extLst>
            </p:cNvPr>
            <p:cNvSpPr/>
            <p:nvPr/>
          </p:nvSpPr>
          <p:spPr bwMode="auto">
            <a:xfrm>
              <a:off x="420388" y="1500299"/>
              <a:ext cx="1266256" cy="1266256"/>
            </a:xfrm>
            <a:prstGeom prst="arc">
              <a:avLst>
                <a:gd name="adj1" fmla="val 19889921"/>
                <a:gd name="adj2" fmla="val 10002163"/>
              </a:avLst>
            </a:prstGeom>
            <a:noFill/>
            <a:ln w="9207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61" name="Slide Number Placeholder 7">
            <a:extLst>
              <a:ext uri="{FF2B5EF4-FFF2-40B4-BE49-F238E27FC236}">
                <a16:creationId xmlns:a16="http://schemas.microsoft.com/office/drawing/2014/main" id="{E0865DC9-48E3-4E85-A2FB-8283BE80B94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2" name="Текст 3">
            <a:extLst>
              <a:ext uri="{FF2B5EF4-FFF2-40B4-BE49-F238E27FC236}">
                <a16:creationId xmlns:a16="http://schemas.microsoft.com/office/drawing/2014/main" id="{7CC3F587-9F30-4C41-8421-8E9EACA2F7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8776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фото люд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D52B4510-A1CC-42EE-B09C-0759EE3ECF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204865" y="1489325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Рисунок 13">
            <a:extLst>
              <a:ext uri="{FF2B5EF4-FFF2-40B4-BE49-F238E27FC236}">
                <a16:creationId xmlns:a16="http://schemas.microsoft.com/office/drawing/2014/main" id="{8553449B-AA81-4002-BFC2-849CE638866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204865" y="332059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Рисунок 13">
            <a:extLst>
              <a:ext uri="{FF2B5EF4-FFF2-40B4-BE49-F238E27FC236}">
                <a16:creationId xmlns:a16="http://schemas.microsoft.com/office/drawing/2014/main" id="{249A119C-6FEE-4BEB-A43E-6DD39C2366F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04865" y="5203844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59234B06-0350-4A5C-B591-A68B7C9C03E9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245976" y="1489325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5" name="Рисунок 13">
            <a:extLst>
              <a:ext uri="{FF2B5EF4-FFF2-40B4-BE49-F238E27FC236}">
                <a16:creationId xmlns:a16="http://schemas.microsoft.com/office/drawing/2014/main" id="{419C62D1-466E-4A75-A20F-F4281A82C61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5976" y="332059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6" name="Рисунок 13">
            <a:extLst>
              <a:ext uri="{FF2B5EF4-FFF2-40B4-BE49-F238E27FC236}">
                <a16:creationId xmlns:a16="http://schemas.microsoft.com/office/drawing/2014/main" id="{84FF0057-290A-4001-9DD8-3012BAD9E07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45976" y="5203844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50393A75-BE1E-475C-B160-7BC025B361F9}"/>
              </a:ext>
            </a:extLst>
          </p:cNvPr>
          <p:cNvGrpSpPr/>
          <p:nvPr userDrawn="1"/>
        </p:nvGrpSpPr>
        <p:grpSpPr>
          <a:xfrm>
            <a:off x="946877" y="4945856"/>
            <a:ext cx="1412376" cy="1412376"/>
            <a:chOff x="946877" y="4945856"/>
            <a:chExt cx="1412376" cy="1412376"/>
          </a:xfrm>
        </p:grpSpPr>
        <p:sp>
          <p:nvSpPr>
            <p:cNvPr id="34" name="Дуга 33">
              <a:extLst>
                <a:ext uri="{FF2B5EF4-FFF2-40B4-BE49-F238E27FC236}">
                  <a16:creationId xmlns:a16="http://schemas.microsoft.com/office/drawing/2014/main" id="{6E417670-49B2-42DD-B3E8-0185EFC1C306}"/>
                </a:ext>
              </a:extLst>
            </p:cNvPr>
            <p:cNvSpPr/>
            <p:nvPr/>
          </p:nvSpPr>
          <p:spPr bwMode="auto">
            <a:xfrm>
              <a:off x="1048624" y="5047603"/>
              <a:ext cx="1208881" cy="1208881"/>
            </a:xfrm>
            <a:prstGeom prst="arc">
              <a:avLst>
                <a:gd name="adj1" fmla="val 10694836"/>
                <a:gd name="adj2" fmla="val 19218249"/>
              </a:avLst>
            </a:prstGeom>
            <a:noFill/>
            <a:ln w="1016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5" name="Дуга 34">
              <a:extLst>
                <a:ext uri="{FF2B5EF4-FFF2-40B4-BE49-F238E27FC236}">
                  <a16:creationId xmlns:a16="http://schemas.microsoft.com/office/drawing/2014/main" id="{71F25056-7CC5-4804-AFA5-18AFDB5C8875}"/>
                </a:ext>
              </a:extLst>
            </p:cNvPr>
            <p:cNvSpPr/>
            <p:nvPr/>
          </p:nvSpPr>
          <p:spPr bwMode="auto">
            <a:xfrm>
              <a:off x="1149058" y="5148035"/>
              <a:ext cx="1008017" cy="1008017"/>
            </a:xfrm>
            <a:prstGeom prst="arc">
              <a:avLst>
                <a:gd name="adj1" fmla="val 5793406"/>
                <a:gd name="adj2" fmla="val 13342931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6" name="Дуга 35">
              <a:extLst>
                <a:ext uri="{FF2B5EF4-FFF2-40B4-BE49-F238E27FC236}">
                  <a16:creationId xmlns:a16="http://schemas.microsoft.com/office/drawing/2014/main" id="{3A4DA8D7-8B7A-4786-8CDD-8C9ECA969AEB}"/>
                </a:ext>
              </a:extLst>
            </p:cNvPr>
            <p:cNvSpPr/>
            <p:nvPr/>
          </p:nvSpPr>
          <p:spPr bwMode="auto">
            <a:xfrm>
              <a:off x="946877" y="4945856"/>
              <a:ext cx="1412376" cy="1412376"/>
            </a:xfrm>
            <a:prstGeom prst="arc">
              <a:avLst>
                <a:gd name="adj1" fmla="val 14859089"/>
                <a:gd name="adj2" fmla="val 2867265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000BD7B4-223D-4C2C-B529-D5E596800136}"/>
              </a:ext>
            </a:extLst>
          </p:cNvPr>
          <p:cNvGrpSpPr/>
          <p:nvPr userDrawn="1"/>
        </p:nvGrpSpPr>
        <p:grpSpPr>
          <a:xfrm>
            <a:off x="946877" y="3062610"/>
            <a:ext cx="1412376" cy="1412376"/>
            <a:chOff x="946877" y="4945856"/>
            <a:chExt cx="1412376" cy="1412376"/>
          </a:xfrm>
        </p:grpSpPr>
        <p:sp>
          <p:nvSpPr>
            <p:cNvPr id="42" name="Дуга 41">
              <a:extLst>
                <a:ext uri="{FF2B5EF4-FFF2-40B4-BE49-F238E27FC236}">
                  <a16:creationId xmlns:a16="http://schemas.microsoft.com/office/drawing/2014/main" id="{D8294D4C-5D89-4BE1-BCD6-3DAF53649F48}"/>
                </a:ext>
              </a:extLst>
            </p:cNvPr>
            <p:cNvSpPr/>
            <p:nvPr/>
          </p:nvSpPr>
          <p:spPr bwMode="auto">
            <a:xfrm>
              <a:off x="1048624" y="5047603"/>
              <a:ext cx="1208881" cy="1208881"/>
            </a:xfrm>
            <a:prstGeom prst="arc">
              <a:avLst>
                <a:gd name="adj1" fmla="val 10694836"/>
                <a:gd name="adj2" fmla="val 19218249"/>
              </a:avLst>
            </a:prstGeom>
            <a:noFill/>
            <a:ln w="1016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3" name="Дуга 42">
              <a:extLst>
                <a:ext uri="{FF2B5EF4-FFF2-40B4-BE49-F238E27FC236}">
                  <a16:creationId xmlns:a16="http://schemas.microsoft.com/office/drawing/2014/main" id="{FE738D16-9B23-4549-9AE5-47BD77E597A5}"/>
                </a:ext>
              </a:extLst>
            </p:cNvPr>
            <p:cNvSpPr/>
            <p:nvPr/>
          </p:nvSpPr>
          <p:spPr bwMode="auto">
            <a:xfrm>
              <a:off x="1149058" y="5148035"/>
              <a:ext cx="1008017" cy="1008017"/>
            </a:xfrm>
            <a:prstGeom prst="arc">
              <a:avLst>
                <a:gd name="adj1" fmla="val 5793406"/>
                <a:gd name="adj2" fmla="val 13342931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4" name="Дуга 43">
              <a:extLst>
                <a:ext uri="{FF2B5EF4-FFF2-40B4-BE49-F238E27FC236}">
                  <a16:creationId xmlns:a16="http://schemas.microsoft.com/office/drawing/2014/main" id="{494DFFCD-E660-4D13-8F09-074AD8E7FB3B}"/>
                </a:ext>
              </a:extLst>
            </p:cNvPr>
            <p:cNvSpPr/>
            <p:nvPr/>
          </p:nvSpPr>
          <p:spPr bwMode="auto">
            <a:xfrm>
              <a:off x="946877" y="4945856"/>
              <a:ext cx="1412376" cy="1412376"/>
            </a:xfrm>
            <a:prstGeom prst="arc">
              <a:avLst>
                <a:gd name="adj1" fmla="val 14859089"/>
                <a:gd name="adj2" fmla="val 2867265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A7353ED6-A574-4685-8B3D-6F97E0DE01A7}"/>
              </a:ext>
            </a:extLst>
          </p:cNvPr>
          <p:cNvGrpSpPr/>
          <p:nvPr userDrawn="1"/>
        </p:nvGrpSpPr>
        <p:grpSpPr>
          <a:xfrm>
            <a:off x="946877" y="1231337"/>
            <a:ext cx="1412376" cy="1412376"/>
            <a:chOff x="946877" y="4945856"/>
            <a:chExt cx="1412376" cy="1412376"/>
          </a:xfrm>
        </p:grpSpPr>
        <p:sp>
          <p:nvSpPr>
            <p:cNvPr id="46" name="Дуга 45">
              <a:extLst>
                <a:ext uri="{FF2B5EF4-FFF2-40B4-BE49-F238E27FC236}">
                  <a16:creationId xmlns:a16="http://schemas.microsoft.com/office/drawing/2014/main" id="{B14ADAE6-5A81-4057-9445-1F9D67E7BBD0}"/>
                </a:ext>
              </a:extLst>
            </p:cNvPr>
            <p:cNvSpPr/>
            <p:nvPr/>
          </p:nvSpPr>
          <p:spPr bwMode="auto">
            <a:xfrm>
              <a:off x="1048624" y="5047603"/>
              <a:ext cx="1208881" cy="1208881"/>
            </a:xfrm>
            <a:prstGeom prst="arc">
              <a:avLst>
                <a:gd name="adj1" fmla="val 10694836"/>
                <a:gd name="adj2" fmla="val 19218249"/>
              </a:avLst>
            </a:prstGeom>
            <a:noFill/>
            <a:ln w="1016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7" name="Дуга 46">
              <a:extLst>
                <a:ext uri="{FF2B5EF4-FFF2-40B4-BE49-F238E27FC236}">
                  <a16:creationId xmlns:a16="http://schemas.microsoft.com/office/drawing/2014/main" id="{6671B1EE-CFCD-4BE5-94A4-14F825ECC6D0}"/>
                </a:ext>
              </a:extLst>
            </p:cNvPr>
            <p:cNvSpPr/>
            <p:nvPr/>
          </p:nvSpPr>
          <p:spPr bwMode="auto">
            <a:xfrm>
              <a:off x="1149058" y="5148035"/>
              <a:ext cx="1008017" cy="1008017"/>
            </a:xfrm>
            <a:prstGeom prst="arc">
              <a:avLst>
                <a:gd name="adj1" fmla="val 5793406"/>
                <a:gd name="adj2" fmla="val 13342931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8" name="Дуга 47">
              <a:extLst>
                <a:ext uri="{FF2B5EF4-FFF2-40B4-BE49-F238E27FC236}">
                  <a16:creationId xmlns:a16="http://schemas.microsoft.com/office/drawing/2014/main" id="{8F04BCEE-24E3-4851-9EE2-EADFA516A590}"/>
                </a:ext>
              </a:extLst>
            </p:cNvPr>
            <p:cNvSpPr/>
            <p:nvPr/>
          </p:nvSpPr>
          <p:spPr bwMode="auto">
            <a:xfrm>
              <a:off x="946877" y="4945856"/>
              <a:ext cx="1412376" cy="1412376"/>
            </a:xfrm>
            <a:prstGeom prst="arc">
              <a:avLst>
                <a:gd name="adj1" fmla="val 14859089"/>
                <a:gd name="adj2" fmla="val 2867265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23DC0ED0-7C10-4E30-9B81-A3C8E8ABDBB7}"/>
              </a:ext>
            </a:extLst>
          </p:cNvPr>
          <p:cNvGrpSpPr/>
          <p:nvPr userDrawn="1"/>
        </p:nvGrpSpPr>
        <p:grpSpPr>
          <a:xfrm>
            <a:off x="5987988" y="4945856"/>
            <a:ext cx="1412376" cy="1412376"/>
            <a:chOff x="946877" y="4945856"/>
            <a:chExt cx="1412376" cy="1412376"/>
          </a:xfrm>
        </p:grpSpPr>
        <p:sp>
          <p:nvSpPr>
            <p:cNvPr id="50" name="Дуга 49">
              <a:extLst>
                <a:ext uri="{FF2B5EF4-FFF2-40B4-BE49-F238E27FC236}">
                  <a16:creationId xmlns:a16="http://schemas.microsoft.com/office/drawing/2014/main" id="{8780A66D-5D95-4295-87E0-10724DBA8675}"/>
                </a:ext>
              </a:extLst>
            </p:cNvPr>
            <p:cNvSpPr/>
            <p:nvPr/>
          </p:nvSpPr>
          <p:spPr bwMode="auto">
            <a:xfrm>
              <a:off x="1048624" y="5047603"/>
              <a:ext cx="1208881" cy="1208881"/>
            </a:xfrm>
            <a:prstGeom prst="arc">
              <a:avLst>
                <a:gd name="adj1" fmla="val 17879824"/>
                <a:gd name="adj2" fmla="val 3926866"/>
              </a:avLst>
            </a:prstGeom>
            <a:noFill/>
            <a:ln w="1016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1" name="Дуга 50">
              <a:extLst>
                <a:ext uri="{FF2B5EF4-FFF2-40B4-BE49-F238E27FC236}">
                  <a16:creationId xmlns:a16="http://schemas.microsoft.com/office/drawing/2014/main" id="{D2AB18F3-E7CF-4E8D-80FF-B7A368B69E90}"/>
                </a:ext>
              </a:extLst>
            </p:cNvPr>
            <p:cNvSpPr/>
            <p:nvPr/>
          </p:nvSpPr>
          <p:spPr bwMode="auto">
            <a:xfrm>
              <a:off x="1149058" y="5148035"/>
              <a:ext cx="1008017" cy="1008017"/>
            </a:xfrm>
            <a:prstGeom prst="arc">
              <a:avLst>
                <a:gd name="adj1" fmla="val 20104501"/>
                <a:gd name="adj2" fmla="val 5558811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2" name="Дуга 51">
              <a:extLst>
                <a:ext uri="{FF2B5EF4-FFF2-40B4-BE49-F238E27FC236}">
                  <a16:creationId xmlns:a16="http://schemas.microsoft.com/office/drawing/2014/main" id="{6F11061A-85DD-49EA-A1C5-612B94CB4491}"/>
                </a:ext>
              </a:extLst>
            </p:cNvPr>
            <p:cNvSpPr/>
            <p:nvPr/>
          </p:nvSpPr>
          <p:spPr bwMode="auto">
            <a:xfrm>
              <a:off x="946877" y="4945856"/>
              <a:ext cx="1412376" cy="1412376"/>
            </a:xfrm>
            <a:prstGeom prst="arc">
              <a:avLst>
                <a:gd name="adj1" fmla="val 9015870"/>
                <a:gd name="adj2" fmla="val 19150904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154A23F8-241E-43EB-A93C-D97FB4420737}"/>
              </a:ext>
            </a:extLst>
          </p:cNvPr>
          <p:cNvGrpSpPr/>
          <p:nvPr userDrawn="1"/>
        </p:nvGrpSpPr>
        <p:grpSpPr>
          <a:xfrm>
            <a:off x="5987988" y="3062610"/>
            <a:ext cx="1412376" cy="1412376"/>
            <a:chOff x="946877" y="4945856"/>
            <a:chExt cx="1412376" cy="1412376"/>
          </a:xfrm>
        </p:grpSpPr>
        <p:sp>
          <p:nvSpPr>
            <p:cNvPr id="54" name="Дуга 53">
              <a:extLst>
                <a:ext uri="{FF2B5EF4-FFF2-40B4-BE49-F238E27FC236}">
                  <a16:creationId xmlns:a16="http://schemas.microsoft.com/office/drawing/2014/main" id="{AC982B90-E3F6-4B36-91EC-341383CAF641}"/>
                </a:ext>
              </a:extLst>
            </p:cNvPr>
            <p:cNvSpPr/>
            <p:nvPr/>
          </p:nvSpPr>
          <p:spPr bwMode="auto">
            <a:xfrm>
              <a:off x="1048624" y="5047603"/>
              <a:ext cx="1208881" cy="1208881"/>
            </a:xfrm>
            <a:prstGeom prst="arc">
              <a:avLst>
                <a:gd name="adj1" fmla="val 10694836"/>
                <a:gd name="adj2" fmla="val 19218249"/>
              </a:avLst>
            </a:prstGeom>
            <a:noFill/>
            <a:ln w="1016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5" name="Дуга 54">
              <a:extLst>
                <a:ext uri="{FF2B5EF4-FFF2-40B4-BE49-F238E27FC236}">
                  <a16:creationId xmlns:a16="http://schemas.microsoft.com/office/drawing/2014/main" id="{1983A81D-798E-4DF0-806A-B310408A8821}"/>
                </a:ext>
              </a:extLst>
            </p:cNvPr>
            <p:cNvSpPr/>
            <p:nvPr/>
          </p:nvSpPr>
          <p:spPr bwMode="auto">
            <a:xfrm>
              <a:off x="1149058" y="5148035"/>
              <a:ext cx="1008017" cy="1008017"/>
            </a:xfrm>
            <a:prstGeom prst="arc">
              <a:avLst>
                <a:gd name="adj1" fmla="val 9074145"/>
                <a:gd name="adj2" fmla="val 15665058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6" name="Дуга 55">
              <a:extLst>
                <a:ext uri="{FF2B5EF4-FFF2-40B4-BE49-F238E27FC236}">
                  <a16:creationId xmlns:a16="http://schemas.microsoft.com/office/drawing/2014/main" id="{79B253BA-DBD2-4A4B-91BE-B408D5D5F9E7}"/>
                </a:ext>
              </a:extLst>
            </p:cNvPr>
            <p:cNvSpPr/>
            <p:nvPr/>
          </p:nvSpPr>
          <p:spPr bwMode="auto">
            <a:xfrm>
              <a:off x="946877" y="4945856"/>
              <a:ext cx="1412376" cy="1412376"/>
            </a:xfrm>
            <a:prstGeom prst="arc">
              <a:avLst>
                <a:gd name="adj1" fmla="val 14859089"/>
                <a:gd name="adj2" fmla="val 4784748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C12105FB-7243-4C6A-B07D-C8D50B03F810}"/>
              </a:ext>
            </a:extLst>
          </p:cNvPr>
          <p:cNvGrpSpPr/>
          <p:nvPr userDrawn="1"/>
        </p:nvGrpSpPr>
        <p:grpSpPr>
          <a:xfrm>
            <a:off x="5987988" y="1231337"/>
            <a:ext cx="1412376" cy="1412376"/>
            <a:chOff x="946877" y="4945856"/>
            <a:chExt cx="1412376" cy="1412376"/>
          </a:xfrm>
        </p:grpSpPr>
        <p:sp>
          <p:nvSpPr>
            <p:cNvPr id="58" name="Дуга 57">
              <a:extLst>
                <a:ext uri="{FF2B5EF4-FFF2-40B4-BE49-F238E27FC236}">
                  <a16:creationId xmlns:a16="http://schemas.microsoft.com/office/drawing/2014/main" id="{B33F3862-2B2A-40AC-8282-816CFC59D3B7}"/>
                </a:ext>
              </a:extLst>
            </p:cNvPr>
            <p:cNvSpPr/>
            <p:nvPr/>
          </p:nvSpPr>
          <p:spPr bwMode="auto">
            <a:xfrm>
              <a:off x="1048624" y="5047603"/>
              <a:ext cx="1208881" cy="1208881"/>
            </a:xfrm>
            <a:prstGeom prst="arc">
              <a:avLst>
                <a:gd name="adj1" fmla="val 15799015"/>
                <a:gd name="adj2" fmla="val 2432566"/>
              </a:avLst>
            </a:prstGeom>
            <a:noFill/>
            <a:ln w="1016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59" name="Дуга 58">
              <a:extLst>
                <a:ext uri="{FF2B5EF4-FFF2-40B4-BE49-F238E27FC236}">
                  <a16:creationId xmlns:a16="http://schemas.microsoft.com/office/drawing/2014/main" id="{46781A37-90E9-44B6-9D95-1913CB15017E}"/>
                </a:ext>
              </a:extLst>
            </p:cNvPr>
            <p:cNvSpPr/>
            <p:nvPr/>
          </p:nvSpPr>
          <p:spPr bwMode="auto">
            <a:xfrm>
              <a:off x="1149058" y="5148035"/>
              <a:ext cx="1008017" cy="1008017"/>
            </a:xfrm>
            <a:prstGeom prst="arc">
              <a:avLst>
                <a:gd name="adj1" fmla="val 21557083"/>
                <a:gd name="adj2" fmla="val 7317654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0" name="Дуга 59">
              <a:extLst>
                <a:ext uri="{FF2B5EF4-FFF2-40B4-BE49-F238E27FC236}">
                  <a16:creationId xmlns:a16="http://schemas.microsoft.com/office/drawing/2014/main" id="{6F75EFB6-FAB1-432A-81B9-180192378C62}"/>
                </a:ext>
              </a:extLst>
            </p:cNvPr>
            <p:cNvSpPr/>
            <p:nvPr/>
          </p:nvSpPr>
          <p:spPr bwMode="auto">
            <a:xfrm>
              <a:off x="946877" y="4945856"/>
              <a:ext cx="1412376" cy="1412376"/>
            </a:xfrm>
            <a:prstGeom prst="arc">
              <a:avLst>
                <a:gd name="adj1" fmla="val 8178389"/>
                <a:gd name="adj2" fmla="val 17188452"/>
              </a:avLst>
            </a:prstGeom>
            <a:noFill/>
            <a:ln w="1016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37" name="Slide Number Placeholder 7">
            <a:extLst>
              <a:ext uri="{FF2B5EF4-FFF2-40B4-BE49-F238E27FC236}">
                <a16:creationId xmlns:a16="http://schemas.microsoft.com/office/drawing/2014/main" id="{B2902128-9BCC-463B-9EC6-D11C8BCFADD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38" name="Текст 3">
            <a:extLst>
              <a:ext uri="{FF2B5EF4-FFF2-40B4-BE49-F238E27FC236}">
                <a16:creationId xmlns:a16="http://schemas.microsoft.com/office/drawing/2014/main" id="{95493472-4877-442E-ACD9-C851529CA6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72715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хема фото с людь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0" name="Рисунок 13">
            <a:extLst>
              <a:ext uri="{FF2B5EF4-FFF2-40B4-BE49-F238E27FC236}">
                <a16:creationId xmlns:a16="http://schemas.microsoft.com/office/drawing/2014/main" id="{68A87041-9869-4786-8837-88AFBFE952F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47800" y="1403188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554642B5-45F3-4C67-B814-B20780BA40B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801842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2" name="Рисунок 13">
            <a:extLst>
              <a:ext uri="{FF2B5EF4-FFF2-40B4-BE49-F238E27FC236}">
                <a16:creationId xmlns:a16="http://schemas.microsoft.com/office/drawing/2014/main" id="{F0A5985A-4AE2-443D-B641-1D6516AE92E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89905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3" name="Рисунок 13">
            <a:extLst>
              <a:ext uri="{FF2B5EF4-FFF2-40B4-BE49-F238E27FC236}">
                <a16:creationId xmlns:a16="http://schemas.microsoft.com/office/drawing/2014/main" id="{9B56A0C1-38C8-44E6-94E8-8F151EF4536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977968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A3115D26-324B-4C69-B519-1D0A28339B38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566032" y="4133759"/>
            <a:ext cx="896400" cy="8964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5" name="Slide Number Placeholder 7">
            <a:extLst>
              <a:ext uri="{FF2B5EF4-FFF2-40B4-BE49-F238E27FC236}">
                <a16:creationId xmlns:a16="http://schemas.microsoft.com/office/drawing/2014/main" id="{B98B5B00-C06A-487C-8747-9B39092F38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6" name="Текст 3">
            <a:extLst>
              <a:ext uri="{FF2B5EF4-FFF2-40B4-BE49-F238E27FC236}">
                <a16:creationId xmlns:a16="http://schemas.microsoft.com/office/drawing/2014/main" id="{9BCA3E88-282F-4D10-8D5F-78D89E8EB98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64305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ользовательский макет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: фигура 18">
            <a:extLst>
              <a:ext uri="{FF2B5EF4-FFF2-40B4-BE49-F238E27FC236}">
                <a16:creationId xmlns:a16="http://schemas.microsoft.com/office/drawing/2014/main" id="{E86DA874-5929-4AA1-A99E-2E61BE7F20EA}"/>
              </a:ext>
            </a:extLst>
          </p:cNvPr>
          <p:cNvSpPr/>
          <p:nvPr userDrawn="1"/>
        </p:nvSpPr>
        <p:spPr>
          <a:xfrm>
            <a:off x="0" y="2606474"/>
            <a:ext cx="1600250" cy="4251526"/>
          </a:xfrm>
          <a:custGeom>
            <a:avLst/>
            <a:gdLst>
              <a:gd name="connsiteX0" fmla="*/ 0 w 1600250"/>
              <a:gd name="connsiteY0" fmla="*/ 0 h 4251526"/>
              <a:gd name="connsiteX1" fmla="*/ 1600250 w 1600250"/>
              <a:gd name="connsiteY1" fmla="*/ 0 h 4251526"/>
              <a:gd name="connsiteX2" fmla="*/ 1600250 w 1600250"/>
              <a:gd name="connsiteY2" fmla="*/ 3227840 h 4251526"/>
              <a:gd name="connsiteX3" fmla="*/ 576564 w 1600250"/>
              <a:gd name="connsiteY3" fmla="*/ 4251526 h 4251526"/>
              <a:gd name="connsiteX4" fmla="*/ 0 w 1600250"/>
              <a:gd name="connsiteY4" fmla="*/ 4251526 h 4251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0250" h="4251526">
                <a:moveTo>
                  <a:pt x="0" y="0"/>
                </a:moveTo>
                <a:lnTo>
                  <a:pt x="1600250" y="0"/>
                </a:lnTo>
                <a:lnTo>
                  <a:pt x="1600250" y="3227840"/>
                </a:lnTo>
                <a:lnTo>
                  <a:pt x="576564" y="4251526"/>
                </a:lnTo>
                <a:lnTo>
                  <a:pt x="0" y="4251526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Полилиния: фигура 24">
            <a:extLst>
              <a:ext uri="{FF2B5EF4-FFF2-40B4-BE49-F238E27FC236}">
                <a16:creationId xmlns:a16="http://schemas.microsoft.com/office/drawing/2014/main" id="{DF71C1D4-9A88-44B1-9471-91C20B1BB2FF}"/>
              </a:ext>
            </a:extLst>
          </p:cNvPr>
          <p:cNvSpPr/>
          <p:nvPr userDrawn="1"/>
        </p:nvSpPr>
        <p:spPr>
          <a:xfrm>
            <a:off x="1600250" y="4220394"/>
            <a:ext cx="4841760" cy="2637607"/>
          </a:xfrm>
          <a:custGeom>
            <a:avLst/>
            <a:gdLst>
              <a:gd name="connsiteX0" fmla="*/ 1613920 w 4841760"/>
              <a:gd name="connsiteY0" fmla="*/ 0 h 2637607"/>
              <a:gd name="connsiteX1" fmla="*/ 4841760 w 4841760"/>
              <a:gd name="connsiteY1" fmla="*/ 0 h 2637607"/>
              <a:gd name="connsiteX2" fmla="*/ 4841760 w 4841760"/>
              <a:gd name="connsiteY2" fmla="*/ 2637607 h 2637607"/>
              <a:gd name="connsiteX3" fmla="*/ 3227840 w 4841760"/>
              <a:gd name="connsiteY3" fmla="*/ 2637607 h 2637607"/>
              <a:gd name="connsiteX4" fmla="*/ 3227840 w 4841760"/>
              <a:gd name="connsiteY4" fmla="*/ 1613920 h 2637607"/>
              <a:gd name="connsiteX5" fmla="*/ 0 w 4841760"/>
              <a:gd name="connsiteY5" fmla="*/ 1613920 h 2637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41760" h="2637607">
                <a:moveTo>
                  <a:pt x="1613920" y="0"/>
                </a:moveTo>
                <a:lnTo>
                  <a:pt x="4841760" y="0"/>
                </a:lnTo>
                <a:lnTo>
                  <a:pt x="4841760" y="2637607"/>
                </a:lnTo>
                <a:lnTo>
                  <a:pt x="3227840" y="2637607"/>
                </a:lnTo>
                <a:lnTo>
                  <a:pt x="3227840" y="1613920"/>
                </a:lnTo>
                <a:lnTo>
                  <a:pt x="0" y="161392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8" name="Полилиния: фигура 7">
            <a:extLst>
              <a:ext uri="{FF2B5EF4-FFF2-40B4-BE49-F238E27FC236}">
                <a16:creationId xmlns:a16="http://schemas.microsoft.com/office/drawing/2014/main" id="{980C4912-F120-4F90-A1EE-6BDAFE99CDF3}"/>
              </a:ext>
            </a:extLst>
          </p:cNvPr>
          <p:cNvSpPr/>
          <p:nvPr userDrawn="1"/>
        </p:nvSpPr>
        <p:spPr>
          <a:xfrm>
            <a:off x="4828089" y="992553"/>
            <a:ext cx="4841760" cy="4841759"/>
          </a:xfrm>
          <a:custGeom>
            <a:avLst/>
            <a:gdLst>
              <a:gd name="connsiteX0" fmla="*/ 4796790 w 4796790"/>
              <a:gd name="connsiteY0" fmla="*/ 0 h 4796789"/>
              <a:gd name="connsiteX1" fmla="*/ 1598930 w 4796790"/>
              <a:gd name="connsiteY1" fmla="*/ 0 h 4796789"/>
              <a:gd name="connsiteX2" fmla="*/ 0 w 4796790"/>
              <a:gd name="connsiteY2" fmla="*/ 1598930 h 4796789"/>
              <a:gd name="connsiteX3" fmla="*/ 3197860 w 4796790"/>
              <a:gd name="connsiteY3" fmla="*/ 1598930 h 4796789"/>
              <a:gd name="connsiteX4" fmla="*/ 3197860 w 4796790"/>
              <a:gd name="connsiteY4" fmla="*/ 4796790 h 4796789"/>
              <a:gd name="connsiteX5" fmla="*/ 4796790 w 4796790"/>
              <a:gd name="connsiteY5" fmla="*/ 3197860 h 47967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90" h="4796789">
                <a:moveTo>
                  <a:pt x="4796790" y="0"/>
                </a:moveTo>
                <a:lnTo>
                  <a:pt x="1598930" y="0"/>
                </a:lnTo>
                <a:lnTo>
                  <a:pt x="0" y="1598930"/>
                </a:lnTo>
                <a:lnTo>
                  <a:pt x="3197860" y="1598930"/>
                </a:lnTo>
                <a:lnTo>
                  <a:pt x="3197860" y="4796790"/>
                </a:lnTo>
                <a:lnTo>
                  <a:pt x="4796790" y="319786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9" name="Полилиния: фигура 8">
            <a:extLst>
              <a:ext uri="{FF2B5EF4-FFF2-40B4-BE49-F238E27FC236}">
                <a16:creationId xmlns:a16="http://schemas.microsoft.com/office/drawing/2014/main" id="{3FDF4C0F-85C4-474D-A1D2-555058C06A77}"/>
              </a:ext>
            </a:extLst>
          </p:cNvPr>
          <p:cNvSpPr/>
          <p:nvPr userDrawn="1"/>
        </p:nvSpPr>
        <p:spPr>
          <a:xfrm>
            <a:off x="-13671" y="29842"/>
            <a:ext cx="4841759" cy="4190551"/>
          </a:xfrm>
          <a:custGeom>
            <a:avLst/>
            <a:gdLst>
              <a:gd name="connsiteX0" fmla="*/ 953135 w 4796789"/>
              <a:gd name="connsiteY0" fmla="*/ 0 h 4151629"/>
              <a:gd name="connsiteX1" fmla="*/ 0 w 4796789"/>
              <a:gd name="connsiteY1" fmla="*/ 953770 h 4151629"/>
              <a:gd name="connsiteX2" fmla="*/ 3197860 w 4796789"/>
              <a:gd name="connsiteY2" fmla="*/ 953770 h 4151629"/>
              <a:gd name="connsiteX3" fmla="*/ 3197860 w 4796789"/>
              <a:gd name="connsiteY3" fmla="*/ 4151630 h 4151629"/>
              <a:gd name="connsiteX4" fmla="*/ 4796790 w 4796789"/>
              <a:gd name="connsiteY4" fmla="*/ 2552700 h 4151629"/>
              <a:gd name="connsiteX5" fmla="*/ 4796790 w 4796789"/>
              <a:gd name="connsiteY5" fmla="*/ 0 h 41516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96789" h="4151629">
                <a:moveTo>
                  <a:pt x="953135" y="0"/>
                </a:moveTo>
                <a:lnTo>
                  <a:pt x="0" y="953770"/>
                </a:lnTo>
                <a:lnTo>
                  <a:pt x="3197860" y="953770"/>
                </a:lnTo>
                <a:lnTo>
                  <a:pt x="3197860" y="4151630"/>
                </a:lnTo>
                <a:lnTo>
                  <a:pt x="4796790" y="2552700"/>
                </a:lnTo>
                <a:lnTo>
                  <a:pt x="479679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0" name="Полилиния: фигура 9">
            <a:extLst>
              <a:ext uri="{FF2B5EF4-FFF2-40B4-BE49-F238E27FC236}">
                <a16:creationId xmlns:a16="http://schemas.microsoft.com/office/drawing/2014/main" id="{6503AECF-4CA5-43F0-9AF3-EA4A72E46E38}"/>
              </a:ext>
            </a:extLst>
          </p:cNvPr>
          <p:cNvSpPr/>
          <p:nvPr userDrawn="1"/>
        </p:nvSpPr>
        <p:spPr>
          <a:xfrm>
            <a:off x="9669849" y="2606474"/>
            <a:ext cx="2522151" cy="1613919"/>
          </a:xfrm>
          <a:custGeom>
            <a:avLst/>
            <a:gdLst>
              <a:gd name="connsiteX0" fmla="*/ 1598930 w 2498725"/>
              <a:gd name="connsiteY0" fmla="*/ 0 h 1598929"/>
              <a:gd name="connsiteX1" fmla="*/ 0 w 2498725"/>
              <a:gd name="connsiteY1" fmla="*/ 1598930 h 1598929"/>
              <a:gd name="connsiteX2" fmla="*/ 2498725 w 2498725"/>
              <a:gd name="connsiteY2" fmla="*/ 1598930 h 1598929"/>
              <a:gd name="connsiteX3" fmla="*/ 2498725 w 2498725"/>
              <a:gd name="connsiteY3" fmla="*/ 0 h 1598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98725" h="1598929">
                <a:moveTo>
                  <a:pt x="1598930" y="0"/>
                </a:moveTo>
                <a:lnTo>
                  <a:pt x="0" y="1598930"/>
                </a:lnTo>
                <a:lnTo>
                  <a:pt x="2498725" y="1598930"/>
                </a:lnTo>
                <a:lnTo>
                  <a:pt x="249872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" name="Полилиния: фигура 10">
            <a:extLst>
              <a:ext uri="{FF2B5EF4-FFF2-40B4-BE49-F238E27FC236}">
                <a16:creationId xmlns:a16="http://schemas.microsoft.com/office/drawing/2014/main" id="{8A42EDAC-972D-4561-8D17-435F67F7B38C}"/>
              </a:ext>
            </a:extLst>
          </p:cNvPr>
          <p:cNvSpPr/>
          <p:nvPr userDrawn="1"/>
        </p:nvSpPr>
        <p:spPr>
          <a:xfrm>
            <a:off x="11283769" y="29842"/>
            <a:ext cx="908230" cy="2576632"/>
          </a:xfrm>
          <a:custGeom>
            <a:avLst/>
            <a:gdLst>
              <a:gd name="connsiteX0" fmla="*/ 0 w 899794"/>
              <a:gd name="connsiteY0" fmla="*/ 0 h 2552700"/>
              <a:gd name="connsiteX1" fmla="*/ 0 w 899794"/>
              <a:gd name="connsiteY1" fmla="*/ 2552700 h 2552700"/>
              <a:gd name="connsiteX2" fmla="*/ 899795 w 899794"/>
              <a:gd name="connsiteY2" fmla="*/ 1652905 h 2552700"/>
              <a:gd name="connsiteX3" fmla="*/ 899795 w 899794"/>
              <a:gd name="connsiteY3" fmla="*/ 0 h 2552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99794" h="2552700">
                <a:moveTo>
                  <a:pt x="0" y="0"/>
                </a:moveTo>
                <a:lnTo>
                  <a:pt x="0" y="2552700"/>
                </a:lnTo>
                <a:lnTo>
                  <a:pt x="899795" y="1652905"/>
                </a:lnTo>
                <a:lnTo>
                  <a:pt x="899795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Полилиния: фигура 15">
            <a:extLst>
              <a:ext uri="{FF2B5EF4-FFF2-40B4-BE49-F238E27FC236}">
                <a16:creationId xmlns:a16="http://schemas.microsoft.com/office/drawing/2014/main" id="{7DA07329-2815-4181-9C0F-470DAA2099A3}"/>
              </a:ext>
            </a:extLst>
          </p:cNvPr>
          <p:cNvSpPr/>
          <p:nvPr userDrawn="1"/>
        </p:nvSpPr>
        <p:spPr>
          <a:xfrm>
            <a:off x="6442009" y="0"/>
            <a:ext cx="1007295" cy="1007295"/>
          </a:xfrm>
          <a:custGeom>
            <a:avLst/>
            <a:gdLst>
              <a:gd name="connsiteX0" fmla="*/ 0 w 1007295"/>
              <a:gd name="connsiteY0" fmla="*/ 0 h 1007295"/>
              <a:gd name="connsiteX1" fmla="*/ 1007295 w 1007295"/>
              <a:gd name="connsiteY1" fmla="*/ 0 h 1007295"/>
              <a:gd name="connsiteX2" fmla="*/ 0 w 1007295"/>
              <a:gd name="connsiteY2" fmla="*/ 1007295 h 1007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07295" h="1007295">
                <a:moveTo>
                  <a:pt x="0" y="0"/>
                </a:moveTo>
                <a:lnTo>
                  <a:pt x="1007295" y="0"/>
                </a:lnTo>
                <a:lnTo>
                  <a:pt x="0" y="1007295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2" name="Полилиния: фигура 21">
            <a:extLst>
              <a:ext uri="{FF2B5EF4-FFF2-40B4-BE49-F238E27FC236}">
                <a16:creationId xmlns:a16="http://schemas.microsoft.com/office/drawing/2014/main" id="{15551796-9430-44BB-9A13-B715C717E44B}"/>
              </a:ext>
            </a:extLst>
          </p:cNvPr>
          <p:cNvSpPr/>
          <p:nvPr userDrawn="1"/>
        </p:nvSpPr>
        <p:spPr>
          <a:xfrm>
            <a:off x="7032242" y="5834312"/>
            <a:ext cx="4251528" cy="1023688"/>
          </a:xfrm>
          <a:custGeom>
            <a:avLst/>
            <a:gdLst>
              <a:gd name="connsiteX0" fmla="*/ 1023688 w 4251528"/>
              <a:gd name="connsiteY0" fmla="*/ 0 h 1023688"/>
              <a:gd name="connsiteX1" fmla="*/ 4251528 w 4251528"/>
              <a:gd name="connsiteY1" fmla="*/ 0 h 1023688"/>
              <a:gd name="connsiteX2" fmla="*/ 4251528 w 4251528"/>
              <a:gd name="connsiteY2" fmla="*/ 1023688 h 1023688"/>
              <a:gd name="connsiteX3" fmla="*/ 0 w 4251528"/>
              <a:gd name="connsiteY3" fmla="*/ 1023688 h 1023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51528" h="1023688">
                <a:moveTo>
                  <a:pt x="1023688" y="0"/>
                </a:moveTo>
                <a:lnTo>
                  <a:pt x="4251528" y="0"/>
                </a:lnTo>
                <a:lnTo>
                  <a:pt x="4251528" y="1023688"/>
                </a:lnTo>
                <a:lnTo>
                  <a:pt x="0" y="1023688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19D409E-9FD1-43D8-BF51-65BF1B6787D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id="{9BCCD663-0AE7-4EB7-9471-F1237F1B209B}"/>
              </a:ext>
            </a:extLst>
          </p:cNvPr>
          <p:cNvSpPr txBox="1">
            <a:spLocks/>
          </p:cNvSpPr>
          <p:nvPr userDrawn="1"/>
        </p:nvSpPr>
        <p:spPr>
          <a:xfrm>
            <a:off x="5771964" y="6561348"/>
            <a:ext cx="648072" cy="230864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8100000" scaled="1"/>
            <a:tileRect/>
          </a:gra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05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B9CAC58-44C9-4DC0-A6AF-0B4057C34224}" type="slidenum">
              <a:rPr lang="ru-RU" smtClean="0">
                <a:solidFill>
                  <a:schemeClr val="bg1"/>
                </a:solidFill>
              </a:rPr>
              <a:pPr/>
              <a:t>‹#›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6353EBA0-AD4C-4F8F-9664-692632A1E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  <p:sp>
        <p:nvSpPr>
          <p:cNvPr id="28" name="Заголовок 12">
            <a:extLst>
              <a:ext uri="{FF2B5EF4-FFF2-40B4-BE49-F238E27FC236}">
                <a16:creationId xmlns:a16="http://schemas.microsoft.com/office/drawing/2014/main" id="{8D3E5806-E57D-47C6-9D92-8F1B66C222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3629" y="1106128"/>
            <a:ext cx="6124585" cy="1116578"/>
          </a:xfrm>
        </p:spPr>
        <p:txBody>
          <a:bodyPr anchor="b">
            <a:noAutofit/>
          </a:bodyPr>
          <a:lstStyle>
            <a:lvl1pPr>
              <a:def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defRPr>
            </a:lvl1pPr>
          </a:lstStyle>
          <a:p>
            <a:pPr lvl="0">
              <a:defRPr/>
            </a:pPr>
            <a:r>
              <a:rPr lang="ru-RU" sz="4000" b="1" dirty="0">
                <a:solidFill>
                  <a:srgbClr val="FFFFFF"/>
                </a:solidFill>
              </a:rPr>
              <a:t>Титульный слайд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Текст 19">
            <a:extLst>
              <a:ext uri="{FF2B5EF4-FFF2-40B4-BE49-F238E27FC236}">
                <a16:creationId xmlns:a16="http://schemas.microsoft.com/office/drawing/2014/main" id="{A0EF04F5-7844-4252-B6E1-7773238540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3629" y="2394168"/>
            <a:ext cx="6124585" cy="233910"/>
          </a:xfrm>
        </p:spPr>
        <p:txBody>
          <a:bodyPr>
            <a:spAutoFit/>
          </a:bodyPr>
          <a:lstStyle>
            <a:lvl1pPr marL="180000" indent="-180000" algn="l" defTabSz="883649" rtl="0" eaLnBrk="0" fontAlgn="base" hangingPunct="0">
              <a:lnSpc>
                <a:spcPct val="95000"/>
              </a:lnSpc>
              <a:spcBef>
                <a:spcPts val="500"/>
              </a:spcBef>
              <a:spcAft>
                <a:spcPts val="200"/>
              </a:spcAft>
              <a:defRPr lang="ru-RU" sz="16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algn="l" defTabSz="883649" rtl="0" eaLnBrk="0" fontAlgn="base" hangingPunct="0">
              <a:spcBef>
                <a:spcPts val="500"/>
              </a:spcBef>
              <a:spcAft>
                <a:spcPct val="0"/>
              </a:spcAft>
              <a:defRPr lang="ru-RU" sz="18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30" name="Прямая соединительная линия 9">
            <a:extLst>
              <a:ext uri="{FF2B5EF4-FFF2-40B4-BE49-F238E27FC236}">
                <a16:creationId xmlns:a16="http://schemas.microsoft.com/office/drawing/2014/main" id="{8F4FE799-1569-445B-A49F-10F0A429BC4A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3863158-CE6B-4333-BB35-9848BA3996BF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bg1"/>
                </a:solidFill>
              </a:rPr>
            </a:br>
            <a:r>
              <a:rPr lang="ru-RU" sz="500" dirty="0">
                <a:solidFill>
                  <a:schemeClr val="bg1"/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sp>
        <p:nvSpPr>
          <p:cNvPr id="33" name="Текст 3">
            <a:extLst>
              <a:ext uri="{FF2B5EF4-FFF2-40B4-BE49-F238E27FC236}">
                <a16:creationId xmlns:a16="http://schemas.microsoft.com/office/drawing/2014/main" id="{65C3E12B-7593-4486-AA98-9E0F1433DD6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904111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руговая схема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8">
            <a:extLst>
              <a:ext uri="{FF2B5EF4-FFF2-40B4-BE49-F238E27FC236}">
                <a16:creationId xmlns:a16="http://schemas.microsoft.com/office/drawing/2014/main" id="{4A61B867-AAAA-4DAF-8D60-936029F21D1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254192" y="2919020"/>
            <a:ext cx="1717900" cy="1717900"/>
          </a:xfrm>
          <a:custGeom>
            <a:avLst/>
            <a:gdLst>
              <a:gd name="connsiteX0" fmla="*/ 858950 w 1717900"/>
              <a:gd name="connsiteY0" fmla="*/ 0 h 1717900"/>
              <a:gd name="connsiteX1" fmla="*/ 1717900 w 1717900"/>
              <a:gd name="connsiteY1" fmla="*/ 858950 h 1717900"/>
              <a:gd name="connsiteX2" fmla="*/ 858950 w 1717900"/>
              <a:gd name="connsiteY2" fmla="*/ 1717900 h 1717900"/>
              <a:gd name="connsiteX3" fmla="*/ 0 w 1717900"/>
              <a:gd name="connsiteY3" fmla="*/ 858950 h 1717900"/>
              <a:gd name="connsiteX4" fmla="*/ 858950 w 1717900"/>
              <a:gd name="connsiteY4" fmla="*/ 0 h 17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17900" h="1717900">
                <a:moveTo>
                  <a:pt x="858950" y="0"/>
                </a:moveTo>
                <a:cubicBezTo>
                  <a:pt x="1333335" y="0"/>
                  <a:pt x="1717900" y="384565"/>
                  <a:pt x="1717900" y="858950"/>
                </a:cubicBezTo>
                <a:cubicBezTo>
                  <a:pt x="1717900" y="1333335"/>
                  <a:pt x="1333335" y="1717900"/>
                  <a:pt x="858950" y="1717900"/>
                </a:cubicBezTo>
                <a:cubicBezTo>
                  <a:pt x="384565" y="1717900"/>
                  <a:pt x="0" y="1333335"/>
                  <a:pt x="0" y="858950"/>
                </a:cubicBezTo>
                <a:cubicBezTo>
                  <a:pt x="0" y="384565"/>
                  <a:pt x="384565" y="0"/>
                  <a:pt x="85895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lide Number Placeholder 7">
            <a:extLst>
              <a:ext uri="{FF2B5EF4-FFF2-40B4-BE49-F238E27FC236}">
                <a16:creationId xmlns:a16="http://schemas.microsoft.com/office/drawing/2014/main" id="{3425B92F-5C4B-4673-A604-90D9AD5F6E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3">
            <a:extLst>
              <a:ext uri="{FF2B5EF4-FFF2-40B4-BE49-F238E27FC236}">
                <a16:creationId xmlns:a16="http://schemas.microsoft.com/office/drawing/2014/main" id="{76BFD2CC-25DB-4092-A11F-B9D50400E2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2285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хема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4663EF5-10C4-49EC-88C8-16AF90F8EC81}"/>
              </a:ext>
            </a:extLst>
          </p:cNvPr>
          <p:cNvSpPr/>
          <p:nvPr userDrawn="1"/>
        </p:nvSpPr>
        <p:spPr>
          <a:xfrm>
            <a:off x="5601505" y="1088740"/>
            <a:ext cx="6111119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300F2668-2E4C-4F9B-BCF1-84DE6D299F50}"/>
              </a:ext>
            </a:extLst>
          </p:cNvPr>
          <p:cNvSpPr/>
          <p:nvPr userDrawn="1"/>
        </p:nvSpPr>
        <p:spPr>
          <a:xfrm>
            <a:off x="5601505" y="2416696"/>
            <a:ext cx="6111119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5E3DF761-2573-49E8-8067-06735714517B}"/>
              </a:ext>
            </a:extLst>
          </p:cNvPr>
          <p:cNvSpPr/>
          <p:nvPr userDrawn="1"/>
        </p:nvSpPr>
        <p:spPr>
          <a:xfrm>
            <a:off x="5601505" y="3744652"/>
            <a:ext cx="6111119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FCBBC2A5-6ADE-4FC4-B775-F0A0B1CA0AEF}"/>
              </a:ext>
            </a:extLst>
          </p:cNvPr>
          <p:cNvSpPr/>
          <p:nvPr userDrawn="1"/>
        </p:nvSpPr>
        <p:spPr>
          <a:xfrm>
            <a:off x="5593493" y="5072608"/>
            <a:ext cx="6111119" cy="1177200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" name="Рисунок 13">
            <a:extLst>
              <a:ext uri="{FF2B5EF4-FFF2-40B4-BE49-F238E27FC236}">
                <a16:creationId xmlns:a16="http://schemas.microsoft.com/office/drawing/2014/main" id="{B4112C69-B746-4E26-8F8D-69722E384B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7988" y="1088740"/>
            <a:ext cx="3379762" cy="257297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5D3D3A01-8AB9-41F1-893E-30590EE88E8E}"/>
              </a:ext>
            </a:extLst>
          </p:cNvPr>
          <p:cNvGrpSpPr/>
          <p:nvPr userDrawn="1"/>
        </p:nvGrpSpPr>
        <p:grpSpPr>
          <a:xfrm>
            <a:off x="407987" y="3559577"/>
            <a:ext cx="3389729" cy="2690231"/>
            <a:chOff x="5274143" y="3725742"/>
            <a:chExt cx="2592022" cy="2078450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898D947E-A2C1-49A9-854C-1C75F146DC0B}"/>
                </a:ext>
              </a:extLst>
            </p:cNvPr>
            <p:cNvSpPr/>
            <p:nvPr/>
          </p:nvSpPr>
          <p:spPr>
            <a:xfrm>
              <a:off x="5274143" y="3725742"/>
              <a:ext cx="2590996" cy="2078450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B034E5A1-769F-4F2B-9979-8A9648E1C5A7}"/>
                </a:ext>
              </a:extLst>
            </p:cNvPr>
            <p:cNvSpPr/>
            <p:nvPr/>
          </p:nvSpPr>
          <p:spPr>
            <a:xfrm>
              <a:off x="5275168" y="3725742"/>
              <a:ext cx="2590997" cy="2078449"/>
            </a:xfrm>
            <a:custGeom>
              <a:avLst/>
              <a:gdLst>
                <a:gd name="connsiteX0" fmla="*/ 514838 w 2590997"/>
                <a:gd name="connsiteY0" fmla="*/ 0 h 2078449"/>
                <a:gd name="connsiteX1" fmla="*/ 2590997 w 2590997"/>
                <a:gd name="connsiteY1" fmla="*/ 0 h 2078449"/>
                <a:gd name="connsiteX2" fmla="*/ 2590997 w 2590997"/>
                <a:gd name="connsiteY2" fmla="*/ 1378846 h 2078449"/>
                <a:gd name="connsiteX3" fmla="*/ 2590996 w 2590997"/>
                <a:gd name="connsiteY3" fmla="*/ 1378847 h 2078449"/>
                <a:gd name="connsiteX4" fmla="*/ 1891394 w 2590997"/>
                <a:gd name="connsiteY4" fmla="*/ 2078449 h 2078449"/>
                <a:gd name="connsiteX5" fmla="*/ 1727331 w 2590997"/>
                <a:gd name="connsiteY5" fmla="*/ 2078449 h 2078449"/>
                <a:gd name="connsiteX6" fmla="*/ 1727331 w 2590997"/>
                <a:gd name="connsiteY6" fmla="*/ 515181 h 2078449"/>
                <a:gd name="connsiteX7" fmla="*/ 0 w 2590997"/>
                <a:gd name="connsiteY7" fmla="*/ 515181 h 2078449"/>
                <a:gd name="connsiteX8" fmla="*/ 514838 w 2590997"/>
                <a:gd name="connsiteY8" fmla="*/ 0 h 2078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0997" h="2078449">
                  <a:moveTo>
                    <a:pt x="514838" y="0"/>
                  </a:moveTo>
                  <a:lnTo>
                    <a:pt x="2590997" y="0"/>
                  </a:lnTo>
                  <a:lnTo>
                    <a:pt x="2590997" y="1378846"/>
                  </a:lnTo>
                  <a:lnTo>
                    <a:pt x="2590996" y="1378847"/>
                  </a:lnTo>
                  <a:lnTo>
                    <a:pt x="1891394" y="2078449"/>
                  </a:lnTo>
                  <a:lnTo>
                    <a:pt x="1727331" y="2078449"/>
                  </a:lnTo>
                  <a:lnTo>
                    <a:pt x="1727331" y="515181"/>
                  </a:lnTo>
                  <a:lnTo>
                    <a:pt x="0" y="515181"/>
                  </a:lnTo>
                  <a:lnTo>
                    <a:pt x="51483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86000">
                  <a:schemeClr val="accent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F5A63A48-D396-477D-A1A2-FD35BC6E6800}"/>
                </a:ext>
              </a:extLst>
            </p:cNvPr>
            <p:cNvSpPr/>
            <p:nvPr/>
          </p:nvSpPr>
          <p:spPr>
            <a:xfrm>
              <a:off x="5274864" y="5104588"/>
              <a:ext cx="856350" cy="699603"/>
            </a:xfrm>
            <a:custGeom>
              <a:avLst/>
              <a:gdLst>
                <a:gd name="connsiteX0" fmla="*/ 0 w 856350"/>
                <a:gd name="connsiteY0" fmla="*/ 0 h 699603"/>
                <a:gd name="connsiteX1" fmla="*/ 856350 w 856350"/>
                <a:gd name="connsiteY1" fmla="*/ 0 h 699603"/>
                <a:gd name="connsiteX2" fmla="*/ 856350 w 856350"/>
                <a:gd name="connsiteY2" fmla="*/ 699603 h 699603"/>
                <a:gd name="connsiteX3" fmla="*/ 0 w 856350"/>
                <a:gd name="connsiteY3" fmla="*/ 699603 h 699603"/>
                <a:gd name="connsiteX4" fmla="*/ 0 w 856350"/>
                <a:gd name="connsiteY4" fmla="*/ 0 h 69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350" h="699603">
                  <a:moveTo>
                    <a:pt x="0" y="0"/>
                  </a:moveTo>
                  <a:lnTo>
                    <a:pt x="856350" y="0"/>
                  </a:lnTo>
                  <a:lnTo>
                    <a:pt x="856350" y="699603"/>
                  </a:lnTo>
                  <a:lnTo>
                    <a:pt x="0" y="69960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86000">
                  <a:schemeClr val="accent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/>
            </a:p>
          </p:txBody>
        </p:sp>
      </p:grpSp>
      <p:sp>
        <p:nvSpPr>
          <p:cNvPr id="48" name="Рисунок 13">
            <a:extLst>
              <a:ext uri="{FF2B5EF4-FFF2-40B4-BE49-F238E27FC236}">
                <a16:creationId xmlns:a16="http://schemas.microsoft.com/office/drawing/2014/main" id="{6D4E6D65-E1DC-4D39-A22B-4383C1AD796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20336" y="2416325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9" name="Рисунок 13">
            <a:extLst>
              <a:ext uri="{FF2B5EF4-FFF2-40B4-BE49-F238E27FC236}">
                <a16:creationId xmlns:a16="http://schemas.microsoft.com/office/drawing/2014/main" id="{7566EF06-F4EE-4A93-B797-4D949201E3F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120336" y="1088740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0" name="Рисунок 13">
            <a:extLst>
              <a:ext uri="{FF2B5EF4-FFF2-40B4-BE49-F238E27FC236}">
                <a16:creationId xmlns:a16="http://schemas.microsoft.com/office/drawing/2014/main" id="{7106A8ED-F888-44BE-A61A-EA9C8336F0A8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112324" y="5071496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1" name="Рисунок 13">
            <a:extLst>
              <a:ext uri="{FF2B5EF4-FFF2-40B4-BE49-F238E27FC236}">
                <a16:creationId xmlns:a16="http://schemas.microsoft.com/office/drawing/2014/main" id="{A0E2E3C1-C927-466D-A514-0CF5BDD71A6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20336" y="3743910"/>
            <a:ext cx="2592288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cxnSp>
        <p:nvCxnSpPr>
          <p:cNvPr id="74" name="Соединитель: уступ 73">
            <a:extLst>
              <a:ext uri="{FF2B5EF4-FFF2-40B4-BE49-F238E27FC236}">
                <a16:creationId xmlns:a16="http://schemas.microsoft.com/office/drawing/2014/main" id="{FE1D0395-BCDA-4800-8662-5483BEB92205}"/>
              </a:ext>
            </a:extLst>
          </p:cNvPr>
          <p:cNvCxnSpPr>
            <a:cxnSpLocks/>
            <a:stCxn id="43" idx="1"/>
            <a:endCxn id="2" idx="1"/>
          </p:cNvCxnSpPr>
          <p:nvPr userDrawn="1"/>
        </p:nvCxnSpPr>
        <p:spPr bwMode="auto">
          <a:xfrm flipV="1">
            <a:off x="3797716" y="1677340"/>
            <a:ext cx="1803789" cy="1882237"/>
          </a:xfrm>
          <a:prstGeom prst="bentConnector3">
            <a:avLst>
              <a:gd name="adj1" fmla="val 49868"/>
            </a:avLst>
          </a:prstGeom>
          <a:solidFill>
            <a:schemeClr val="accent1"/>
          </a:solidFill>
          <a:ln w="9525" cap="flat" cmpd="sng" algn="ctr">
            <a:gradFill>
              <a:gsLst>
                <a:gs pos="55000">
                  <a:schemeClr val="bg2"/>
                </a:gs>
                <a:gs pos="100000">
                  <a:schemeClr val="accent1"/>
                </a:gs>
              </a:gsLst>
              <a:lin ang="0" scaled="0"/>
            </a:gradFill>
            <a:prstDash val="solid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4" name="Соединитель: уступ 103">
            <a:extLst>
              <a:ext uri="{FF2B5EF4-FFF2-40B4-BE49-F238E27FC236}">
                <a16:creationId xmlns:a16="http://schemas.microsoft.com/office/drawing/2014/main" id="{C521CB12-68BE-4D75-A3B8-991DB008D516}"/>
              </a:ext>
            </a:extLst>
          </p:cNvPr>
          <p:cNvCxnSpPr>
            <a:stCxn id="43" idx="1"/>
            <a:endCxn id="52" idx="1"/>
          </p:cNvCxnSpPr>
          <p:nvPr userDrawn="1"/>
        </p:nvCxnSpPr>
        <p:spPr bwMode="auto">
          <a:xfrm flipV="1">
            <a:off x="3797716" y="3005296"/>
            <a:ext cx="1803789" cy="554281"/>
          </a:xfrm>
          <a:prstGeom prst="bentConnector3">
            <a:avLst>
              <a:gd name="adj1" fmla="val 49868"/>
            </a:avLst>
          </a:prstGeom>
          <a:solidFill>
            <a:schemeClr val="accent1"/>
          </a:solidFill>
          <a:ln w="9525" cap="flat" cmpd="sng" algn="ctr">
            <a:gradFill>
              <a:gsLst>
                <a:gs pos="55000">
                  <a:schemeClr val="bg2"/>
                </a:gs>
                <a:gs pos="100000">
                  <a:schemeClr val="accent1"/>
                </a:gs>
              </a:gsLst>
              <a:lin ang="0" scaled="0"/>
            </a:gradFill>
            <a:prstDash val="solid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6" name="Соединитель: уступ 105">
            <a:extLst>
              <a:ext uri="{FF2B5EF4-FFF2-40B4-BE49-F238E27FC236}">
                <a16:creationId xmlns:a16="http://schemas.microsoft.com/office/drawing/2014/main" id="{604AAE0C-ABB9-45E2-B06D-4ABF86F68204}"/>
              </a:ext>
            </a:extLst>
          </p:cNvPr>
          <p:cNvCxnSpPr>
            <a:stCxn id="43" idx="1"/>
            <a:endCxn id="53" idx="1"/>
          </p:cNvCxnSpPr>
          <p:nvPr userDrawn="1"/>
        </p:nvCxnSpPr>
        <p:spPr bwMode="auto">
          <a:xfrm>
            <a:off x="3797716" y="3559577"/>
            <a:ext cx="1803789" cy="773675"/>
          </a:xfrm>
          <a:prstGeom prst="bentConnector3">
            <a:avLst>
              <a:gd name="adj1" fmla="val 49868"/>
            </a:avLst>
          </a:prstGeom>
          <a:solidFill>
            <a:schemeClr val="accent1"/>
          </a:solidFill>
          <a:ln w="9525" cap="flat" cmpd="sng" algn="ctr">
            <a:gradFill>
              <a:gsLst>
                <a:gs pos="55000">
                  <a:schemeClr val="bg2"/>
                </a:gs>
                <a:gs pos="100000">
                  <a:schemeClr val="accent1"/>
                </a:gs>
              </a:gsLst>
              <a:lin ang="0" scaled="0"/>
            </a:gradFill>
            <a:prstDash val="solid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8" name="Соединитель: уступ 107">
            <a:extLst>
              <a:ext uri="{FF2B5EF4-FFF2-40B4-BE49-F238E27FC236}">
                <a16:creationId xmlns:a16="http://schemas.microsoft.com/office/drawing/2014/main" id="{908E2E00-2DD2-45A0-96D4-298F474C1DBF}"/>
              </a:ext>
            </a:extLst>
          </p:cNvPr>
          <p:cNvCxnSpPr>
            <a:stCxn id="43" idx="1"/>
            <a:endCxn id="54" idx="1"/>
          </p:cNvCxnSpPr>
          <p:nvPr userDrawn="1"/>
        </p:nvCxnSpPr>
        <p:spPr bwMode="auto">
          <a:xfrm>
            <a:off x="3797716" y="3559577"/>
            <a:ext cx="1795777" cy="2101631"/>
          </a:xfrm>
          <a:prstGeom prst="bentConnector3">
            <a:avLst>
              <a:gd name="adj1" fmla="val 50133"/>
            </a:avLst>
          </a:prstGeom>
          <a:solidFill>
            <a:schemeClr val="accent1"/>
          </a:solidFill>
          <a:ln w="9525" cap="flat" cmpd="sng" algn="ctr">
            <a:gradFill>
              <a:gsLst>
                <a:gs pos="55000">
                  <a:schemeClr val="bg2"/>
                </a:gs>
                <a:gs pos="100000">
                  <a:schemeClr val="accent1"/>
                </a:gs>
              </a:gsLst>
              <a:lin ang="0" scaled="0"/>
            </a:gradFill>
            <a:prstDash val="solid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Slide Number Placeholder 7">
            <a:extLst>
              <a:ext uri="{FF2B5EF4-FFF2-40B4-BE49-F238E27FC236}">
                <a16:creationId xmlns:a16="http://schemas.microsoft.com/office/drawing/2014/main" id="{D575D0C9-6508-40C1-98BA-4B4ADE37AE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3" name="Текст 3">
            <a:extLst>
              <a:ext uri="{FF2B5EF4-FFF2-40B4-BE49-F238E27FC236}">
                <a16:creationId xmlns:a16="http://schemas.microsoft.com/office/drawing/2014/main" id="{B9265922-E1C7-42C4-92A8-A04AF38F4E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47624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хема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Рисунок 13">
            <a:extLst>
              <a:ext uri="{FF2B5EF4-FFF2-40B4-BE49-F238E27FC236}">
                <a16:creationId xmlns:a16="http://schemas.microsoft.com/office/drawing/2014/main" id="{B4112C69-B746-4E26-8F8D-69722E384BD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76197" y="1094536"/>
            <a:ext cx="3650976" cy="2118441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16465"/>
            <a:ext cx="10080500" cy="29796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grpSp>
        <p:nvGrpSpPr>
          <p:cNvPr id="40" name="Группа 39">
            <a:extLst>
              <a:ext uri="{FF2B5EF4-FFF2-40B4-BE49-F238E27FC236}">
                <a16:creationId xmlns:a16="http://schemas.microsoft.com/office/drawing/2014/main" id="{5D3D3A01-8AB9-41F1-893E-30590EE88E8E}"/>
              </a:ext>
            </a:extLst>
          </p:cNvPr>
          <p:cNvGrpSpPr/>
          <p:nvPr userDrawn="1"/>
        </p:nvGrpSpPr>
        <p:grpSpPr>
          <a:xfrm>
            <a:off x="407987" y="1094537"/>
            <a:ext cx="2669267" cy="2118442"/>
            <a:chOff x="5274143" y="3725742"/>
            <a:chExt cx="2592022" cy="2078450"/>
          </a:xfrm>
        </p:grpSpPr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id="{898D947E-A2C1-49A9-854C-1C75F146DC0B}"/>
                </a:ext>
              </a:extLst>
            </p:cNvPr>
            <p:cNvSpPr/>
            <p:nvPr/>
          </p:nvSpPr>
          <p:spPr>
            <a:xfrm>
              <a:off x="5274143" y="3725742"/>
              <a:ext cx="2590996" cy="2078450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8953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DD1E25"/>
                </a:buClr>
                <a:buSzTx/>
                <a:buFont typeface="Wingdings" panose="05000000000000000000" pitchFamily="2" charset="2"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Полилиния: фигура 42">
              <a:extLst>
                <a:ext uri="{FF2B5EF4-FFF2-40B4-BE49-F238E27FC236}">
                  <a16:creationId xmlns:a16="http://schemas.microsoft.com/office/drawing/2014/main" id="{B034E5A1-769F-4F2B-9979-8A9648E1C5A7}"/>
                </a:ext>
              </a:extLst>
            </p:cNvPr>
            <p:cNvSpPr/>
            <p:nvPr/>
          </p:nvSpPr>
          <p:spPr>
            <a:xfrm>
              <a:off x="5275168" y="3725742"/>
              <a:ext cx="2590997" cy="2078449"/>
            </a:xfrm>
            <a:custGeom>
              <a:avLst/>
              <a:gdLst>
                <a:gd name="connsiteX0" fmla="*/ 514838 w 2590997"/>
                <a:gd name="connsiteY0" fmla="*/ 0 h 2078449"/>
                <a:gd name="connsiteX1" fmla="*/ 2590997 w 2590997"/>
                <a:gd name="connsiteY1" fmla="*/ 0 h 2078449"/>
                <a:gd name="connsiteX2" fmla="*/ 2590997 w 2590997"/>
                <a:gd name="connsiteY2" fmla="*/ 1378846 h 2078449"/>
                <a:gd name="connsiteX3" fmla="*/ 2590996 w 2590997"/>
                <a:gd name="connsiteY3" fmla="*/ 1378847 h 2078449"/>
                <a:gd name="connsiteX4" fmla="*/ 1891394 w 2590997"/>
                <a:gd name="connsiteY4" fmla="*/ 2078449 h 2078449"/>
                <a:gd name="connsiteX5" fmla="*/ 1727331 w 2590997"/>
                <a:gd name="connsiteY5" fmla="*/ 2078449 h 2078449"/>
                <a:gd name="connsiteX6" fmla="*/ 1727331 w 2590997"/>
                <a:gd name="connsiteY6" fmla="*/ 515181 h 2078449"/>
                <a:gd name="connsiteX7" fmla="*/ 0 w 2590997"/>
                <a:gd name="connsiteY7" fmla="*/ 515181 h 2078449"/>
                <a:gd name="connsiteX8" fmla="*/ 514838 w 2590997"/>
                <a:gd name="connsiteY8" fmla="*/ 0 h 2078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90997" h="2078449">
                  <a:moveTo>
                    <a:pt x="514838" y="0"/>
                  </a:moveTo>
                  <a:lnTo>
                    <a:pt x="2590997" y="0"/>
                  </a:lnTo>
                  <a:lnTo>
                    <a:pt x="2590997" y="1378846"/>
                  </a:lnTo>
                  <a:lnTo>
                    <a:pt x="2590996" y="1378847"/>
                  </a:lnTo>
                  <a:lnTo>
                    <a:pt x="1891394" y="2078449"/>
                  </a:lnTo>
                  <a:lnTo>
                    <a:pt x="1727331" y="2078449"/>
                  </a:lnTo>
                  <a:lnTo>
                    <a:pt x="1727331" y="515181"/>
                  </a:lnTo>
                  <a:lnTo>
                    <a:pt x="0" y="515181"/>
                  </a:lnTo>
                  <a:lnTo>
                    <a:pt x="514838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86000">
                  <a:schemeClr val="accent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/>
            </a:p>
          </p:txBody>
        </p:sp>
        <p:sp>
          <p:nvSpPr>
            <p:cNvPr id="45" name="Полилиния: фигура 44">
              <a:extLst>
                <a:ext uri="{FF2B5EF4-FFF2-40B4-BE49-F238E27FC236}">
                  <a16:creationId xmlns:a16="http://schemas.microsoft.com/office/drawing/2014/main" id="{F5A63A48-D396-477D-A1A2-FD35BC6E6800}"/>
                </a:ext>
              </a:extLst>
            </p:cNvPr>
            <p:cNvSpPr/>
            <p:nvPr/>
          </p:nvSpPr>
          <p:spPr>
            <a:xfrm>
              <a:off x="5274864" y="5104588"/>
              <a:ext cx="856350" cy="699603"/>
            </a:xfrm>
            <a:custGeom>
              <a:avLst/>
              <a:gdLst>
                <a:gd name="connsiteX0" fmla="*/ 0 w 856350"/>
                <a:gd name="connsiteY0" fmla="*/ 0 h 699603"/>
                <a:gd name="connsiteX1" fmla="*/ 856350 w 856350"/>
                <a:gd name="connsiteY1" fmla="*/ 0 h 699603"/>
                <a:gd name="connsiteX2" fmla="*/ 856350 w 856350"/>
                <a:gd name="connsiteY2" fmla="*/ 699603 h 699603"/>
                <a:gd name="connsiteX3" fmla="*/ 0 w 856350"/>
                <a:gd name="connsiteY3" fmla="*/ 699603 h 699603"/>
                <a:gd name="connsiteX4" fmla="*/ 0 w 856350"/>
                <a:gd name="connsiteY4" fmla="*/ 0 h 6996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350" h="699603">
                  <a:moveTo>
                    <a:pt x="0" y="0"/>
                  </a:moveTo>
                  <a:lnTo>
                    <a:pt x="856350" y="0"/>
                  </a:lnTo>
                  <a:lnTo>
                    <a:pt x="856350" y="699603"/>
                  </a:lnTo>
                  <a:lnTo>
                    <a:pt x="0" y="699603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86000">
                  <a:schemeClr val="accent2">
                    <a:lumMod val="75000"/>
                  </a:schemeClr>
                </a:gs>
              </a:gsLst>
              <a:lin ang="810000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ru-RU"/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94663EF5-10C4-49EC-88C8-16AF90F8EC81}"/>
              </a:ext>
            </a:extLst>
          </p:cNvPr>
          <p:cNvSpPr/>
          <p:nvPr userDrawn="1"/>
        </p:nvSpPr>
        <p:spPr>
          <a:xfrm>
            <a:off x="407988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90AB26E0-BFEB-4CB9-866C-38ED55F1659D}"/>
              </a:ext>
            </a:extLst>
          </p:cNvPr>
          <p:cNvSpPr/>
          <p:nvPr userDrawn="1"/>
        </p:nvSpPr>
        <p:spPr>
          <a:xfrm>
            <a:off x="3309433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289767F2-69AD-4667-BD01-FD679E69D2E5}"/>
              </a:ext>
            </a:extLst>
          </p:cNvPr>
          <p:cNvSpPr/>
          <p:nvPr userDrawn="1"/>
        </p:nvSpPr>
        <p:spPr>
          <a:xfrm>
            <a:off x="6210878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3AFB284E-8083-456D-A09D-9AD94EFB6B66}"/>
              </a:ext>
            </a:extLst>
          </p:cNvPr>
          <p:cNvSpPr/>
          <p:nvPr userDrawn="1"/>
        </p:nvSpPr>
        <p:spPr>
          <a:xfrm>
            <a:off x="9112323" y="3800732"/>
            <a:ext cx="2668210" cy="2408962"/>
          </a:xfrm>
          <a:prstGeom prst="rect">
            <a:avLst/>
          </a:prstGeom>
          <a:solidFill>
            <a:srgbClr val="F5F4F6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lvl="0" indent="0" algn="ctr" defTabSz="895350" fontAlgn="auto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DD1E25"/>
              </a:buClr>
              <a:buSzTx/>
              <a:buFont typeface="Wingdings" panose="05000000000000000000" pitchFamily="2" charset="2"/>
              <a:buNone/>
              <a:tabLst/>
            </a:pPr>
            <a:endParaRPr kumimoji="0" lang="ru-RU" sz="1200" b="0" i="0" u="none" strike="noStrike" cap="none" spc="0" normalizeH="0" baseline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49" name="Рисунок 13">
            <a:extLst>
              <a:ext uri="{FF2B5EF4-FFF2-40B4-BE49-F238E27FC236}">
                <a16:creationId xmlns:a16="http://schemas.microsoft.com/office/drawing/2014/main" id="{7566EF06-F4EE-4A93-B797-4D949201E3F2}"/>
              </a:ext>
            </a:extLst>
          </p:cNvPr>
          <p:cNvSpPr>
            <a:spLocks noGrp="1"/>
          </p:cNvSpPr>
          <p:nvPr userDrawn="1">
            <p:ph type="pic" sz="quarter" idx="28"/>
          </p:nvPr>
        </p:nvSpPr>
        <p:spPr>
          <a:xfrm>
            <a:off x="407989" y="3645023"/>
            <a:ext cx="2668209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2" name="Рисунок 13">
            <a:extLst>
              <a:ext uri="{FF2B5EF4-FFF2-40B4-BE49-F238E27FC236}">
                <a16:creationId xmlns:a16="http://schemas.microsoft.com/office/drawing/2014/main" id="{089C0836-FFC4-4181-9B0B-4CBF759FA12B}"/>
              </a:ext>
            </a:extLst>
          </p:cNvPr>
          <p:cNvSpPr>
            <a:spLocks noGrp="1"/>
          </p:cNvSpPr>
          <p:nvPr userDrawn="1">
            <p:ph type="pic" sz="quarter" idx="31"/>
          </p:nvPr>
        </p:nvSpPr>
        <p:spPr>
          <a:xfrm>
            <a:off x="3309434" y="3645023"/>
            <a:ext cx="2668209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3" name="Рисунок 13">
            <a:extLst>
              <a:ext uri="{FF2B5EF4-FFF2-40B4-BE49-F238E27FC236}">
                <a16:creationId xmlns:a16="http://schemas.microsoft.com/office/drawing/2014/main" id="{7C34B081-7BFA-4FAA-A1B8-26D73B20EB27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210879" y="3645023"/>
            <a:ext cx="2668209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24" name="Рисунок 13">
            <a:extLst>
              <a:ext uri="{FF2B5EF4-FFF2-40B4-BE49-F238E27FC236}">
                <a16:creationId xmlns:a16="http://schemas.microsoft.com/office/drawing/2014/main" id="{EABCF6EC-FCA7-4E6F-88B2-8F2EA1E97368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112323" y="3645023"/>
            <a:ext cx="2668209" cy="11783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</p:spPr>
        <p:txBody>
          <a:bodyPr/>
          <a:lstStyle>
            <a:lvl1pPr>
              <a:defRPr>
                <a:solidFill>
                  <a:schemeClr val="tx1">
                    <a:lumMod val="20000"/>
                    <a:lumOff val="80000"/>
                    <a:alpha val="0"/>
                  </a:schemeClr>
                </a:solidFill>
              </a:defRPr>
            </a:lvl1pPr>
          </a:lstStyle>
          <a:p>
            <a:endParaRPr lang="ru-RU" dirty="0"/>
          </a:p>
        </p:txBody>
      </p:sp>
      <p:cxnSp>
        <p:nvCxnSpPr>
          <p:cNvPr id="7" name="Соединитель: уступ 6">
            <a:extLst>
              <a:ext uri="{FF2B5EF4-FFF2-40B4-BE49-F238E27FC236}">
                <a16:creationId xmlns:a16="http://schemas.microsoft.com/office/drawing/2014/main" id="{0FACF3B4-FE73-478B-9B33-C2D638004E3F}"/>
              </a:ext>
            </a:extLst>
          </p:cNvPr>
          <p:cNvCxnSpPr>
            <a:cxnSpLocks/>
            <a:stCxn id="41" idx="2"/>
            <a:endCxn id="24" idx="0"/>
          </p:cNvCxnSpPr>
          <p:nvPr userDrawn="1"/>
        </p:nvCxnSpPr>
        <p:spPr bwMode="auto">
          <a:xfrm rot="16200000" flipH="1">
            <a:off x="5878238" y="-923167"/>
            <a:ext cx="432044" cy="870433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gradFill>
              <a:gsLst>
                <a:gs pos="55000">
                  <a:schemeClr val="bg2"/>
                </a:gs>
                <a:gs pos="100000">
                  <a:schemeClr val="accent1"/>
                </a:gs>
              </a:gsLst>
              <a:lin ang="0" scaled="0"/>
            </a:gradFill>
            <a:prstDash val="solid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Соединитель: уступ 9">
            <a:extLst>
              <a:ext uri="{FF2B5EF4-FFF2-40B4-BE49-F238E27FC236}">
                <a16:creationId xmlns:a16="http://schemas.microsoft.com/office/drawing/2014/main" id="{6900C73B-6B44-441C-9C79-A94A2976EF5D}"/>
              </a:ext>
            </a:extLst>
          </p:cNvPr>
          <p:cNvCxnSpPr>
            <a:cxnSpLocks/>
            <a:stCxn id="41" idx="2"/>
            <a:endCxn id="23" idx="0"/>
          </p:cNvCxnSpPr>
          <p:nvPr userDrawn="1"/>
        </p:nvCxnSpPr>
        <p:spPr bwMode="auto">
          <a:xfrm rot="16200000" flipH="1">
            <a:off x="4427516" y="527555"/>
            <a:ext cx="432044" cy="580289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gradFill>
              <a:gsLst>
                <a:gs pos="55000">
                  <a:schemeClr val="bg2"/>
                </a:gs>
                <a:gs pos="100000">
                  <a:schemeClr val="accent1"/>
                </a:gs>
              </a:gsLst>
              <a:lin ang="0" scaled="0"/>
            </a:gradFill>
            <a:prstDash val="solid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Соединитель: уступ 11">
            <a:extLst>
              <a:ext uri="{FF2B5EF4-FFF2-40B4-BE49-F238E27FC236}">
                <a16:creationId xmlns:a16="http://schemas.microsoft.com/office/drawing/2014/main" id="{078616EC-DCBB-4038-8A71-5156492E64C7}"/>
              </a:ext>
            </a:extLst>
          </p:cNvPr>
          <p:cNvCxnSpPr>
            <a:cxnSpLocks/>
            <a:stCxn id="41" idx="2"/>
            <a:endCxn id="22" idx="0"/>
          </p:cNvCxnSpPr>
          <p:nvPr userDrawn="1"/>
        </p:nvCxnSpPr>
        <p:spPr bwMode="auto">
          <a:xfrm rot="16200000" flipH="1">
            <a:off x="2976793" y="1978277"/>
            <a:ext cx="432044" cy="2901447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9525" cap="flat" cmpd="sng" algn="ctr">
            <a:gradFill>
              <a:gsLst>
                <a:gs pos="55000">
                  <a:schemeClr val="bg2"/>
                </a:gs>
                <a:gs pos="100000">
                  <a:schemeClr val="accent1"/>
                </a:gs>
              </a:gsLst>
              <a:lin ang="0" scaled="0"/>
            </a:gradFill>
            <a:prstDash val="solid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Соединитель: уступ 24">
            <a:extLst>
              <a:ext uri="{FF2B5EF4-FFF2-40B4-BE49-F238E27FC236}">
                <a16:creationId xmlns:a16="http://schemas.microsoft.com/office/drawing/2014/main" id="{D2D676D9-56D4-49CA-B9B7-43797F365628}"/>
              </a:ext>
            </a:extLst>
          </p:cNvPr>
          <p:cNvCxnSpPr>
            <a:cxnSpLocks/>
            <a:stCxn id="41" idx="2"/>
            <a:endCxn id="49" idx="0"/>
          </p:cNvCxnSpPr>
          <p:nvPr userDrawn="1"/>
        </p:nvCxnSpPr>
        <p:spPr bwMode="auto">
          <a:xfrm rot="16200000" flipH="1">
            <a:off x="1526071" y="3429000"/>
            <a:ext cx="432044" cy="2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gradFill>
              <a:gsLst>
                <a:gs pos="55000">
                  <a:schemeClr val="bg2"/>
                </a:gs>
                <a:gs pos="100000">
                  <a:schemeClr val="accent1"/>
                </a:gs>
              </a:gsLst>
              <a:lin ang="0" scaled="0"/>
            </a:gradFill>
            <a:prstDash val="solid"/>
            <a:round/>
            <a:headEnd type="none" w="med" len="med"/>
            <a:tailEnd type="arrow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Slide Number Placeholder 7">
            <a:extLst>
              <a:ext uri="{FF2B5EF4-FFF2-40B4-BE49-F238E27FC236}">
                <a16:creationId xmlns:a16="http://schemas.microsoft.com/office/drawing/2014/main" id="{13057BA5-882A-4E38-BD39-E7A78D295C4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7" name="Текст 3">
            <a:extLst>
              <a:ext uri="{FF2B5EF4-FFF2-40B4-BE49-F238E27FC236}">
                <a16:creationId xmlns:a16="http://schemas.microsoft.com/office/drawing/2014/main" id="{74A28709-B960-483D-A48B-A5375DE004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29168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Рисунок 14">
            <a:extLst>
              <a:ext uri="{FF2B5EF4-FFF2-40B4-BE49-F238E27FC236}">
                <a16:creationId xmlns:a16="http://schemas.microsoft.com/office/drawing/2014/main" id="{1AE48965-BA51-4431-9685-CAA105EF635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9979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5" name="Рисунок 14">
            <a:extLst>
              <a:ext uri="{FF2B5EF4-FFF2-40B4-BE49-F238E27FC236}">
                <a16:creationId xmlns:a16="http://schemas.microsoft.com/office/drawing/2014/main" id="{85A0AAB7-5E7A-4F08-ABCF-A2204AA44C3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9316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8" y="1092880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68652" y="3736398"/>
            <a:ext cx="2790000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49988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фото во весь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>
            <a:extLst>
              <a:ext uri="{FF2B5EF4-FFF2-40B4-BE49-F238E27FC236}">
                <a16:creationId xmlns:a16="http://schemas.microsoft.com/office/drawing/2014/main" id="{11F16459-20B7-47F9-9627-6952DF9A0A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7987" y="1092880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4" name="Рисунок 13">
            <a:extLst>
              <a:ext uri="{FF2B5EF4-FFF2-40B4-BE49-F238E27FC236}">
                <a16:creationId xmlns:a16="http://schemas.microsoft.com/office/drawing/2014/main" id="{69345682-2ACF-47D5-B6A5-9E5E8612E4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8465" y="1092880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FF7A91D-08D0-BB49-9607-66117B18CB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5771964" y="6561348"/>
            <a:ext cx="648072" cy="230864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599F210-14B8-724B-B35C-3AF62E099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8D197C28-682C-40BA-894E-C1A9A2027CE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920536" y="6595989"/>
            <a:ext cx="863476" cy="161583"/>
          </a:xfrm>
        </p:spPr>
        <p:txBody>
          <a:bodyPr wrap="square">
            <a:spAutoFit/>
          </a:bodyPr>
          <a:lstStyle>
            <a:lvl1pPr algn="r">
              <a:buNone/>
              <a:defRPr lang="ru-RU" sz="1050" kern="1200" dirty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</a:t>
            </a:r>
            <a:r>
              <a:rPr lang="ru-RU" dirty="0"/>
              <a:t>.</a:t>
            </a:r>
            <a:r>
              <a:rPr lang="en-US" dirty="0"/>
              <a:t>####</a:t>
            </a:r>
            <a:endParaRPr lang="ru-RU" dirty="0"/>
          </a:p>
        </p:txBody>
      </p:sp>
      <p:sp>
        <p:nvSpPr>
          <p:cNvPr id="10" name="Рисунок 12">
            <a:extLst>
              <a:ext uri="{FF2B5EF4-FFF2-40B4-BE49-F238E27FC236}">
                <a16:creationId xmlns:a16="http://schemas.microsoft.com/office/drawing/2014/main" id="{879D24B6-CBFE-4CA2-85EE-CC6DAE9A30D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07987" y="3736398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 dirty="0"/>
          </a:p>
        </p:txBody>
      </p:sp>
      <p:sp>
        <p:nvSpPr>
          <p:cNvPr id="11" name="Рисунок 13">
            <a:extLst>
              <a:ext uri="{FF2B5EF4-FFF2-40B4-BE49-F238E27FC236}">
                <a16:creationId xmlns:a16="http://schemas.microsoft.com/office/drawing/2014/main" id="{1743E0E9-295A-475D-882A-E6D106ECB8F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68465" y="3736398"/>
            <a:ext cx="5615545" cy="2556452"/>
          </a:xfrm>
          <a:custGeom>
            <a:avLst/>
            <a:gdLst>
              <a:gd name="connsiteX0" fmla="*/ 0 w 3725230"/>
              <a:gd name="connsiteY0" fmla="*/ 0 h 2556452"/>
              <a:gd name="connsiteX1" fmla="*/ 3725230 w 3725230"/>
              <a:gd name="connsiteY1" fmla="*/ 0 h 2556452"/>
              <a:gd name="connsiteX2" fmla="*/ 3725230 w 3725230"/>
              <a:gd name="connsiteY2" fmla="*/ 2556452 h 2556452"/>
              <a:gd name="connsiteX3" fmla="*/ 0 w 3725230"/>
              <a:gd name="connsiteY3" fmla="*/ 2556452 h 2556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25230" h="2556452">
                <a:moveTo>
                  <a:pt x="0" y="0"/>
                </a:moveTo>
                <a:lnTo>
                  <a:pt x="3725230" y="0"/>
                </a:lnTo>
                <a:lnTo>
                  <a:pt x="3725230" y="2556452"/>
                </a:lnTo>
                <a:lnTo>
                  <a:pt x="0" y="2556452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49845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47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78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tags" Target="../tags/tag4.xml"/><Relationship Id="rId50" Type="http://schemas.openxmlformats.org/officeDocument/2006/relationships/image" Target="../media/image3.svg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Relationship Id="rId46" Type="http://schemas.openxmlformats.org/officeDocument/2006/relationships/image" Target="../media/image2.png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41" Type="http://schemas.openxmlformats.org/officeDocument/2006/relationships/vmlDrawing" Target="../drawings/vmlDrawing2.v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theme" Target="../theme/theme2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4" Type="http://schemas.openxmlformats.org/officeDocument/2006/relationships/oleObject" Target="../embeddings/oleObject2.bin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43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1987352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" name="Слайд think-cell" r:id="rId44" imgW="360" imgH="360" progId="TCLayout.ActiveDocument.1">
                  <p:embed/>
                </p:oleObj>
              </mc:Choice>
              <mc:Fallback>
                <p:oleObj name="Слайд think-cell" r:id="rId4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defTabSz="895350" eaLnBrk="1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20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1964" y="6561348"/>
            <a:ext cx="648072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ctr"/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4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70892B7-CD7A-4D50-A1E9-C654EDDD4643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cxnSp>
        <p:nvCxnSpPr>
          <p:cNvPr id="13" name="Прямая соединительная линия 9">
            <a:extLst>
              <a:ext uri="{FF2B5EF4-FFF2-40B4-BE49-F238E27FC236}">
                <a16:creationId xmlns:a16="http://schemas.microsoft.com/office/drawing/2014/main" id="{5156B17C-4D58-49ED-8A2C-77C6C12C0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025F859-AA26-4814-AC0C-F08BE6660D02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96DAC541-7B7A-43D3-8B79-37D633B846F1}">
                <asvg:svgBlip xmlns=""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42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  <p:sldLayoutId id="2147483790" r:id="rId17"/>
    <p:sldLayoutId id="2147483791" r:id="rId18"/>
    <p:sldLayoutId id="2147483792" r:id="rId19"/>
    <p:sldLayoutId id="2147483793" r:id="rId20"/>
    <p:sldLayoutId id="2147483794" r:id="rId21"/>
    <p:sldLayoutId id="2147483795" r:id="rId22"/>
    <p:sldLayoutId id="2147483796" r:id="rId23"/>
    <p:sldLayoutId id="2147483797" r:id="rId24"/>
    <p:sldLayoutId id="2147483798" r:id="rId25"/>
    <p:sldLayoutId id="2147483799" r:id="rId26"/>
    <p:sldLayoutId id="2147483800" r:id="rId27"/>
    <p:sldLayoutId id="2147483801" r:id="rId28"/>
    <p:sldLayoutId id="2147483802" r:id="rId29"/>
    <p:sldLayoutId id="2147483803" r:id="rId30"/>
    <p:sldLayoutId id="2147483804" r:id="rId31"/>
    <p:sldLayoutId id="2147483805" r:id="rId32"/>
    <p:sldLayoutId id="2147483806" r:id="rId33"/>
    <p:sldLayoutId id="2147483807" r:id="rId34"/>
    <p:sldLayoutId id="2147483808" r:id="rId35"/>
    <p:sldLayoutId id="2147483809" r:id="rId36"/>
    <p:sldLayoutId id="2147483810" r:id="rId37"/>
    <p:sldLayoutId id="2147483811" r:id="rId38"/>
    <p:sldLayoutId id="2147483812" r:id="rId39"/>
  </p:sldLayoutIdLst>
  <p:hf hdr="0" ftr="0"/>
  <p:txStyles>
    <p:titleStyle>
      <a:lvl1pPr algn="l" defTabSz="883649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2pPr>
      <a:lvl3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3pPr>
      <a:lvl4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4pPr>
      <a:lvl5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85" indent="-331185" algn="l" defTabSz="883649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18056" indent="-275499" algn="l" defTabSz="883649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1104928" indent="-221279" algn="l" defTabSz="883649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1547485" indent="-221279" algn="l" defTabSz="883649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4pPr>
      <a:lvl5pPr marL="1990042" indent="-221279" algn="l" defTabSz="883649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A4A3A4"/>
          </p15:clr>
        </p15:guide>
        <p15:guide id="2" pos="7423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orient="horz" pos="686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4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" name="Слайд think-cell" r:id="rId44" imgW="360" imgH="360" progId="TCLayout.ActiveDocument.1">
                  <p:embed/>
                </p:oleObj>
              </mc:Choice>
              <mc:Fallback>
                <p:oleObj name="Слайд think-cell" r:id="rId44" imgW="360" imgH="360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lvl="0" indent="0" algn="ctr" defTabSz="895350" eaLnBrk="1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20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3">
            <a:extLst>
              <a:ext uri="{FF2B5EF4-FFF2-40B4-BE49-F238E27FC236}">
                <a16:creationId xmlns:a16="http://schemas.microsoft.com/office/drawing/2014/main" id="{B01F387C-39A2-4383-9067-930B5BAB91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771964" y="6561348"/>
            <a:ext cx="648072" cy="23086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algn="ctr"/>
            <a:fld id="{3B9CAC58-44C9-4DC0-A6AF-0B4057C34224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2E633E08-A2F7-2240-B1AF-8CE9750E3D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68319"/>
            <a:ext cx="10379284" cy="55957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/>
          <a:p>
            <a:r>
              <a:rPr lang="ru-RU" dirty="0"/>
              <a:t>Заголовок слайда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4467EA0F-216A-4484-99FF-CCA159F142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4" y="1089028"/>
            <a:ext cx="11376012" cy="52196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70892B7-CD7A-4D50-A1E9-C654EDDD4643}"/>
              </a:ext>
            </a:extLst>
          </p:cNvPr>
          <p:cNvSpPr txBox="1"/>
          <p:nvPr userDrawn="1"/>
        </p:nvSpPr>
        <p:spPr>
          <a:xfrm>
            <a:off x="407989" y="6599836"/>
            <a:ext cx="4679899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indent="0" defTabSz="883649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6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18056" indent="-275499" defTabSz="883649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04928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&gt;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47485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990042" indent="-221279" defTabSz="883649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412083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6pPr>
            <a:lvl7pPr marL="2834125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7pPr>
            <a:lvl8pPr marL="3256166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8pPr>
            <a:lvl9pPr marL="3678207" indent="-221279" defTabSz="883649" fontAlgn="base">
              <a:spcBef>
                <a:spcPct val="20000"/>
              </a:spcBef>
              <a:spcAft>
                <a:spcPct val="0"/>
              </a:spcAft>
              <a:buChar char="•"/>
              <a:defRPr sz="1108">
                <a:solidFill>
                  <a:schemeClr val="bg2"/>
                </a:solidFill>
                <a:latin typeface="FS Severstal" pitchFamily="2" charset="0"/>
              </a:defRPr>
            </a:lvl9pPr>
          </a:lstStyle>
          <a:p>
            <a:pPr lvl="0"/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Любое несанкционированное копирование, раскрытие или распространение материалов, </a:t>
            </a:r>
            <a:b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ru-RU" sz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держащихся в данном документе (или приложениях к нему), строго запрещено.</a:t>
            </a:r>
          </a:p>
        </p:txBody>
      </p:sp>
      <p:cxnSp>
        <p:nvCxnSpPr>
          <p:cNvPr id="13" name="Прямая соединительная линия 9">
            <a:extLst>
              <a:ext uri="{FF2B5EF4-FFF2-40B4-BE49-F238E27FC236}">
                <a16:creationId xmlns:a16="http://schemas.microsoft.com/office/drawing/2014/main" id="{5156B17C-4D58-49ED-8A2C-77C6C12C0EC1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08000" y="6489340"/>
            <a:ext cx="11376000" cy="0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025F859-AA26-4814-AC0C-F08BE6660D02}"/>
              </a:ext>
            </a:extLst>
          </p:cNvPr>
          <p:cNvPicPr>
            <a:picLocks noChangeAspect="1"/>
          </p:cNvPicPr>
          <p:nvPr userDrawn="1"/>
        </p:nvPicPr>
        <p:blipFill>
          <a:blip r:embed="rId46">
            <a:extLst>
              <a:ext uri="{96DAC541-7B7A-43D3-8B79-37D633B846F1}">
                <asvg:svgBlip xmlns=""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11299592" y="302719"/>
            <a:ext cx="490772" cy="490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33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  <p:sldLayoutId id="2147483828" r:id="rId15"/>
    <p:sldLayoutId id="2147483829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  <p:sldLayoutId id="2147483837" r:id="rId24"/>
    <p:sldLayoutId id="2147483838" r:id="rId25"/>
    <p:sldLayoutId id="2147483839" r:id="rId26"/>
    <p:sldLayoutId id="2147483840" r:id="rId27"/>
    <p:sldLayoutId id="2147483841" r:id="rId28"/>
    <p:sldLayoutId id="2147483842" r:id="rId29"/>
    <p:sldLayoutId id="2147483843" r:id="rId30"/>
    <p:sldLayoutId id="2147483844" r:id="rId31"/>
    <p:sldLayoutId id="2147483845" r:id="rId32"/>
    <p:sldLayoutId id="2147483846" r:id="rId33"/>
    <p:sldLayoutId id="2147483847" r:id="rId34"/>
    <p:sldLayoutId id="2147483848" r:id="rId35"/>
    <p:sldLayoutId id="2147483849" r:id="rId36"/>
    <p:sldLayoutId id="2147483850" r:id="rId37"/>
    <p:sldLayoutId id="2147483851" r:id="rId38"/>
    <p:sldLayoutId id="2147483852" r:id="rId39"/>
  </p:sldLayoutIdLst>
  <p:hf hdr="0" ftr="0"/>
  <p:txStyles>
    <p:titleStyle>
      <a:lvl1pPr algn="l" defTabSz="883649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000" b="1" i="0" spc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2pPr>
      <a:lvl3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3pPr>
      <a:lvl4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4pPr>
      <a:lvl5pPr algn="l" defTabSz="883649" rtl="0" eaLnBrk="0" fontAlgn="base" hangingPunct="0">
        <a:spcBef>
          <a:spcPct val="0"/>
        </a:spcBef>
        <a:spcAft>
          <a:spcPct val="0"/>
        </a:spcAft>
        <a:defRPr sz="1846" i="1">
          <a:solidFill>
            <a:srgbClr val="00579C"/>
          </a:solidFill>
          <a:latin typeface="Arial" charset="0"/>
        </a:defRPr>
      </a:lvl5pPr>
      <a:lvl6pPr marL="422041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6pPr>
      <a:lvl7pPr marL="844083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7pPr>
      <a:lvl8pPr marL="1266124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8pPr>
      <a:lvl9pPr marL="1688165" algn="l" defTabSz="883649" rtl="0" fontAlgn="base">
        <a:spcBef>
          <a:spcPct val="0"/>
        </a:spcBef>
        <a:spcAft>
          <a:spcPct val="0"/>
        </a:spcAft>
        <a:defRPr sz="2585" i="1">
          <a:solidFill>
            <a:srgbClr val="00579C"/>
          </a:solidFill>
          <a:latin typeface="Arial" charset="0"/>
        </a:defRPr>
      </a:lvl9pPr>
    </p:titleStyle>
    <p:bodyStyle>
      <a:lvl1pPr marL="331185" indent="-331185" algn="l" defTabSz="883649" rtl="0" eaLnBrk="0" fontAlgn="base" hangingPunct="0">
        <a:spcBef>
          <a:spcPct val="20000"/>
        </a:spcBef>
        <a:spcAft>
          <a:spcPct val="0"/>
        </a:spcAft>
        <a:buChar char="•"/>
        <a:defRPr sz="1292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18056" indent="-275499" algn="l" defTabSz="883649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2pPr>
      <a:lvl3pPr marL="1104928" indent="-221279" algn="l" defTabSz="883649" rtl="0" eaLnBrk="0" fontAlgn="base" hangingPunct="0">
        <a:spcBef>
          <a:spcPct val="20000"/>
        </a:spcBef>
        <a:spcAft>
          <a:spcPct val="0"/>
        </a:spcAft>
        <a:buFont typeface="Arial" charset="0"/>
        <a:buChar char="&gt;"/>
        <a:defRPr sz="1292">
          <a:solidFill>
            <a:schemeClr val="tx1">
              <a:lumMod val="75000"/>
              <a:lumOff val="25000"/>
            </a:schemeClr>
          </a:solidFill>
          <a:latin typeface="+mn-lt"/>
        </a:defRPr>
      </a:lvl3pPr>
      <a:lvl4pPr marL="1547485" indent="-221279" algn="l" defTabSz="883649" rtl="0" eaLnBrk="0" fontAlgn="base" hangingPunct="0">
        <a:spcBef>
          <a:spcPct val="20000"/>
        </a:spcBef>
        <a:spcAft>
          <a:spcPct val="0"/>
        </a:spcAft>
        <a:buChar char="–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4pPr>
      <a:lvl5pPr marL="1990042" indent="-221279" algn="l" defTabSz="883649" rtl="0" eaLnBrk="0" fontAlgn="base" hangingPunct="0">
        <a:spcBef>
          <a:spcPct val="20000"/>
        </a:spcBef>
        <a:spcAft>
          <a:spcPct val="0"/>
        </a:spcAft>
        <a:buChar char="•"/>
        <a:defRPr sz="1108">
          <a:solidFill>
            <a:schemeClr val="tx1">
              <a:lumMod val="75000"/>
              <a:lumOff val="25000"/>
            </a:schemeClr>
          </a:solidFill>
          <a:latin typeface="FS Severstal" pitchFamily="2" charset="0"/>
        </a:defRPr>
      </a:lvl5pPr>
      <a:lvl6pPr marL="2412083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6pPr>
      <a:lvl7pPr marL="2834125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7pPr>
      <a:lvl8pPr marL="3256166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8pPr>
      <a:lvl9pPr marL="3678207" indent="-221279" algn="l" defTabSz="883649" rtl="0" fontAlgn="base">
        <a:spcBef>
          <a:spcPct val="20000"/>
        </a:spcBef>
        <a:spcAft>
          <a:spcPct val="0"/>
        </a:spcAft>
        <a:buChar char="•"/>
        <a:defRPr sz="1108">
          <a:solidFill>
            <a:schemeClr val="bg2"/>
          </a:solidFill>
          <a:latin typeface="FS Severstal" pitchFamily="2" charset="0"/>
        </a:defRPr>
      </a:lvl9pPr>
    </p:bodyStyle>
    <p:otherStyle>
      <a:defPPr>
        <a:defRPr lang="ru-RU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7">
          <p15:clr>
            <a:srgbClr val="A4A3A4"/>
          </p15:clr>
        </p15:guide>
        <p15:guide id="2" pos="7423">
          <p15:clr>
            <a:srgbClr val="A4A3A4"/>
          </p15:clr>
        </p15:guide>
        <p15:guide id="3" orient="horz" pos="3974">
          <p15:clr>
            <a:srgbClr val="A4A3A4"/>
          </p15:clr>
        </p15:guide>
        <p15:guide id="4" orient="horz" pos="686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9.xml"/><Relationship Id="rId7" Type="http://schemas.openxmlformats.org/officeDocument/2006/relationships/image" Target="../media/image9.jp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6666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6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32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5" name="Заголовок 24">
            <a:extLst>
              <a:ext uri="{FF2B5EF4-FFF2-40B4-BE49-F238E27FC236}">
                <a16:creationId xmlns:a16="http://schemas.microsoft.com/office/drawing/2014/main" id="{A00AD889-1B08-40EF-826B-F3943CEC0C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372" y="2024844"/>
            <a:ext cx="9793088" cy="2160694"/>
          </a:xfrm>
        </p:spPr>
        <p:txBody>
          <a:bodyPr/>
          <a:lstStyle/>
          <a:p>
            <a:pPr lvl="0" defTabSz="895350" eaLnBrk="1" fontAlgn="auto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r>
              <a:rPr lang="ru-RU" altLang="ru-RU" sz="3200" dirty="0" smtClean="0">
                <a:latin typeface="Arial" charset="0"/>
              </a:rPr>
              <a:t/>
            </a:r>
            <a:br>
              <a:rPr lang="ru-RU" altLang="ru-RU" sz="3200" dirty="0" smtClean="0">
                <a:latin typeface="Arial" charset="0"/>
              </a:rPr>
            </a:br>
            <a:r>
              <a:rPr lang="ru-RU" altLang="ru-RU" sz="3200" dirty="0" smtClean="0">
                <a:latin typeface="Arial" charset="0"/>
              </a:rPr>
              <a:t/>
            </a:r>
            <a:br>
              <a:rPr lang="ru-RU" altLang="ru-RU" sz="3200" dirty="0" smtClean="0">
                <a:latin typeface="Arial" charset="0"/>
              </a:rPr>
            </a:br>
            <a:r>
              <a:rPr lang="ru-RU" altLang="ru-RU" sz="3200" dirty="0" smtClean="0">
                <a:solidFill>
                  <a:schemeClr val="bg1"/>
                </a:solidFill>
                <a:latin typeface="Arial" charset="0"/>
              </a:rPr>
              <a:t/>
            </a:r>
            <a:br>
              <a:rPr lang="ru-RU" altLang="ru-RU" sz="3200" dirty="0" smtClean="0">
                <a:solidFill>
                  <a:schemeClr val="bg1"/>
                </a:solidFill>
                <a:latin typeface="Arial" charset="0"/>
              </a:rPr>
            </a:br>
            <a:r>
              <a:rPr lang="ru-RU" altLang="ru-RU" sz="3200" dirty="0" smtClean="0">
                <a:solidFill>
                  <a:schemeClr val="bg1"/>
                </a:solidFill>
                <a:latin typeface="Arial" charset="0"/>
              </a:rPr>
              <a:t/>
            </a:r>
            <a:br>
              <a:rPr lang="ru-RU" altLang="ru-RU" sz="3200" dirty="0" smtClean="0">
                <a:solidFill>
                  <a:schemeClr val="bg1"/>
                </a:solidFill>
                <a:latin typeface="Arial" charset="0"/>
              </a:rPr>
            </a:br>
            <a:r>
              <a:rPr lang="ru-RU" sz="2800" dirty="0" smtClean="0"/>
              <a:t>Групповой </a:t>
            </a:r>
            <a:r>
              <a:rPr lang="ru-RU" sz="2800" dirty="0"/>
              <a:t>несчастный случай с работниками кислородного цеха производства энергоресурсов </a:t>
            </a:r>
            <a:br>
              <a:rPr lang="ru-RU" sz="2800" dirty="0"/>
            </a:br>
            <a:r>
              <a:rPr lang="ru-RU" sz="2800" dirty="0"/>
              <a:t>ПАО «Северсталь»</a:t>
            </a:r>
          </a:p>
        </p:txBody>
      </p:sp>
    </p:spTree>
    <p:extLst>
      <p:ext uri="{BB962C8B-B14F-4D97-AF65-F5344CB8AC3E}">
        <p14:creationId xmlns:p14="http://schemas.microsoft.com/office/powerpoint/2010/main" val="1188264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4478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4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20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7C27FE7-7F22-7948-8D67-F0CF8B31016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9CAC58-44C9-4DC0-A6AF-0B4057C34224}" type="slidenum">
              <a:rPr kumimoji="0" lang="ru-RU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05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2B1B522-A3B1-874F-A488-36C732F8A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156" y="286722"/>
            <a:ext cx="10379284" cy="297962"/>
          </a:xfrm>
        </p:spPr>
        <p:txBody>
          <a:bodyPr/>
          <a:lstStyle/>
          <a:p>
            <a:r>
              <a:rPr lang="ru-RU" dirty="0"/>
              <a:t>Краткое описание происшествия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99356" y="725653"/>
            <a:ext cx="1147293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895350">
              <a:buClr>
                <a:srgbClr val="FF0000"/>
              </a:buClr>
              <a:defRPr/>
            </a:pPr>
            <a:r>
              <a:rPr lang="ru-RU" sz="1400" b="1" u="sng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05.07.2024 в 12:59</a:t>
            </a:r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en-US" sz="1400" b="1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три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слесаря-ремонтника кислородного цеха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(далее КЦ) производили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открытие задвижки на эстакаде трубопроводов (</a:t>
            </a:r>
            <a:r>
              <a:rPr lang="ru-RU" sz="14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отм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. +7,0 м)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для подачи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кислорода в кислородопровод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цеха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ремонта промышленного оборудования (далее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ЦРПО)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после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проведения ремонтных работ. Работа выполнялась в присутствии допускающего, находящегося на отметке 0,0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м.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В момент открытия задвижки произошел хлопок с возгоранием, в результате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два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работника получили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ожоги. Один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слесарь-ремонтник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(бригадир) получил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тяжелую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травму: термический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ожог пламенем лица, туловища, верхних и нижних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конечностей;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35% поверхности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тела; тяжёлый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ожоговый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шок. Второй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слесарь-ремонтник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–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смертельную травму: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ожог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неуточненной локализации с указанием площади пораженной поверхности тела 90% и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более.</a:t>
            </a:r>
            <a:endParaRPr lang="ru-RU" sz="14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lvl="0" algn="just" defTabSz="895350">
              <a:buClr>
                <a:srgbClr val="FF0000"/>
              </a:buClr>
              <a:defRPr/>
            </a:pPr>
            <a:endParaRPr lang="ru-RU" sz="1400" dirty="0">
              <a:solidFill>
                <a:srgbClr val="000000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lvl="0" algn="just" defTabSz="895350">
              <a:buClr>
                <a:srgbClr val="FF0000"/>
              </a:buClr>
              <a:defRPr/>
            </a:pPr>
            <a:endParaRPr lang="ru-RU" sz="1400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6904" y="2240324"/>
            <a:ext cx="3004940" cy="4140807"/>
          </a:xfrm>
          <a:prstGeom prst="rect">
            <a:avLst/>
          </a:prstGeom>
        </p:spPr>
      </p:pic>
      <p:sp>
        <p:nvSpPr>
          <p:cNvPr id="12" name="Заголовок 1"/>
          <p:cNvSpPr txBox="1">
            <a:spLocks/>
          </p:cNvSpPr>
          <p:nvPr/>
        </p:nvSpPr>
        <p:spPr>
          <a:xfrm>
            <a:off x="410156" y="2240324"/>
            <a:ext cx="5454573" cy="370507"/>
          </a:xfrm>
          <a:prstGeom prst="rect">
            <a:avLst/>
          </a:prstGeom>
        </p:spPr>
        <p:txBody>
          <a:bodyPr vert="horz" wrap="square" lIns="0" tIns="36000" rIns="0" bIns="0" rtlCol="0" anchor="ctr">
            <a:normAutofit/>
          </a:bodyPr>
          <a:lstStyle>
            <a:lvl1pPr algn="l" defTabSz="883649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i="0" spc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2pPr>
            <a:lvl3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3pPr>
            <a:lvl4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4pPr>
            <a:lvl5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5pPr>
            <a:lvl6pPr marL="422041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6pPr>
            <a:lvl7pPr marL="844083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7pPr>
            <a:lvl8pPr marL="1266124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8pPr>
            <a:lvl9pPr marL="1688165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9pPr>
          </a:lstStyle>
          <a:p>
            <a:pPr marL="0" marR="0" lvl="0" indent="0" algn="ctr" defTabSz="883649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Схема места несчастного случая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2F6C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7464152" y="2610830"/>
            <a:ext cx="3204356" cy="3590477"/>
            <a:chOff x="659396" y="972520"/>
            <a:chExt cx="3600400" cy="4813369"/>
          </a:xfrm>
        </p:grpSpPr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396" y="972520"/>
              <a:ext cx="3600400" cy="4813369"/>
            </a:xfrm>
            <a:prstGeom prst="rect">
              <a:avLst/>
            </a:prstGeom>
          </p:spPr>
        </p:pic>
        <p:sp>
          <p:nvSpPr>
            <p:cNvPr id="15" name="5-конечная звезда 14"/>
            <p:cNvSpPr/>
            <p:nvPr/>
          </p:nvSpPr>
          <p:spPr>
            <a:xfrm>
              <a:off x="1955540" y="1592796"/>
              <a:ext cx="252028" cy="216024"/>
            </a:xfrm>
            <a:prstGeom prst="star5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indent="0" algn="ctr" defTabSz="895350">
                <a:spcAft>
                  <a:spcPts val="600"/>
                </a:spcAft>
                <a:buClr>
                  <a:schemeClr val="accent1"/>
                </a:buClr>
                <a:buFont typeface="Wingdings" panose="05000000000000000000" pitchFamily="2" charset="2"/>
                <a:buNone/>
              </a:pPr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</p:grpSp>
      <p:sp>
        <p:nvSpPr>
          <p:cNvPr id="16" name="Заголовок 1"/>
          <p:cNvSpPr txBox="1">
            <a:spLocks/>
          </p:cNvSpPr>
          <p:nvPr/>
        </p:nvSpPr>
        <p:spPr>
          <a:xfrm>
            <a:off x="6339043" y="2240324"/>
            <a:ext cx="5454573" cy="370507"/>
          </a:xfrm>
          <a:prstGeom prst="rect">
            <a:avLst/>
          </a:prstGeom>
        </p:spPr>
        <p:txBody>
          <a:bodyPr vert="horz" wrap="square" lIns="0" tIns="36000" rIns="0" bIns="0" rtlCol="0" anchor="ctr">
            <a:normAutofit/>
          </a:bodyPr>
          <a:lstStyle>
            <a:lvl1pPr algn="l" defTabSz="883649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i="0" spc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2pPr>
            <a:lvl3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3pPr>
            <a:lvl4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4pPr>
            <a:lvl5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5pPr>
            <a:lvl6pPr marL="422041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6pPr>
            <a:lvl7pPr marL="844083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7pPr>
            <a:lvl8pPr marL="1266124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8pPr>
            <a:lvl9pPr marL="1688165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9pPr>
          </a:lstStyle>
          <a:p>
            <a:pPr marL="0" marR="0" lvl="0" indent="0" algn="ctr" defTabSz="883649" rtl="0" eaLnBrk="0" fontAlgn="base" latinLnBrk="0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F6C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Фото с места несчастного случая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002F6C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17" name="5-конечная звезда 16"/>
          <p:cNvSpPr/>
          <p:nvPr/>
        </p:nvSpPr>
        <p:spPr>
          <a:xfrm>
            <a:off x="6182762" y="6201308"/>
            <a:ext cx="252028" cy="216024"/>
          </a:xfrm>
          <a:prstGeom prst="star5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indent="0" algn="ctr" defTabSz="895350">
              <a:spcAft>
                <a:spcPts val="60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607834" y="6207848"/>
            <a:ext cx="506878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ru-RU" sz="11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- Место выполнения работ – площадка обслуживания задвижки Кт-129</a:t>
            </a:r>
          </a:p>
        </p:txBody>
      </p:sp>
    </p:spTree>
    <p:extLst>
      <p:ext uri="{BB962C8B-B14F-4D97-AF65-F5344CB8AC3E}">
        <p14:creationId xmlns:p14="http://schemas.microsoft.com/office/powerpoint/2010/main" val="2239848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07988" y="270187"/>
            <a:ext cx="10379284" cy="559572"/>
          </a:xfrm>
        </p:spPr>
        <p:txBody>
          <a:bodyPr/>
          <a:lstStyle/>
          <a:p>
            <a:r>
              <a:rPr lang="ru-RU" dirty="0" smtClean="0"/>
              <a:t>Причины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10916934" y="3112310"/>
            <a:ext cx="863476" cy="161583"/>
          </a:xfrm>
        </p:spPr>
        <p:txBody>
          <a:bodyPr/>
          <a:lstStyle/>
          <a:p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C71F5E-B105-F846-8C78-50BC8A6B4F16}"/>
              </a:ext>
            </a:extLst>
          </p:cNvPr>
          <p:cNvSpPr txBox="1">
            <a:spLocks noChangeAspect="1"/>
          </p:cNvSpPr>
          <p:nvPr/>
        </p:nvSpPr>
        <p:spPr>
          <a:xfrm>
            <a:off x="8616280" y="476672"/>
            <a:ext cx="235783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108000" indent="-108000" defTabSz="91440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000">
                <a:solidFill>
                  <a:srgbClr val="495359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F6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рневые причины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7C71F5E-B105-F846-8C78-50BC8A6B4F16}"/>
              </a:ext>
            </a:extLst>
          </p:cNvPr>
          <p:cNvSpPr txBox="1">
            <a:spLocks noChangeAspect="1"/>
          </p:cNvSpPr>
          <p:nvPr/>
        </p:nvSpPr>
        <p:spPr>
          <a:xfrm>
            <a:off x="3076230" y="428295"/>
            <a:ext cx="2943921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108000" indent="-108000" defTabSz="91440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000">
                <a:solidFill>
                  <a:srgbClr val="495359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F6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епосредственные причин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35">
            <a:extLst>
              <a:ext uri="{FF2B5EF4-FFF2-40B4-BE49-F238E27FC236}">
                <a16:creationId xmlns:a16="http://schemas.microsoft.com/office/drawing/2014/main" id="{542DF8F7-E039-F94D-B451-96552FF68EF7}"/>
              </a:ext>
            </a:extLst>
          </p:cNvPr>
          <p:cNvSpPr/>
          <p:nvPr/>
        </p:nvSpPr>
        <p:spPr>
          <a:xfrm>
            <a:off x="233227" y="2109492"/>
            <a:ext cx="2052228" cy="1800199"/>
          </a:xfrm>
          <a:prstGeom prst="rect">
            <a:avLst/>
          </a:prstGeom>
          <a:gradFill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4200000" scaled="0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360000" tIns="0" rIns="360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spcAft>
                <a:spcPts val="600"/>
              </a:spcAft>
              <a:buClr>
                <a:srgbClr val="FF0000"/>
              </a:buClr>
              <a:defRPr/>
            </a:pPr>
            <a:r>
              <a:rPr lang="ru-RU" sz="1100" b="1" dirty="0">
                <a:solidFill>
                  <a:srgbClr val="FFFFFF"/>
                </a:solidFill>
                <a:latin typeface="+mj-lt"/>
              </a:rPr>
              <a:t>Критический </a:t>
            </a:r>
            <a:r>
              <a:rPr lang="ru-RU" sz="1100" b="1" dirty="0" smtClean="0">
                <a:solidFill>
                  <a:srgbClr val="FFFFFF"/>
                </a:solidFill>
                <a:latin typeface="+mj-lt"/>
              </a:rPr>
              <a:t>фактор № 1:</a:t>
            </a:r>
          </a:p>
          <a:p>
            <a:pPr defTabSz="895350">
              <a:spcAft>
                <a:spcPts val="600"/>
              </a:spcAft>
              <a:buClr>
                <a:srgbClr val="FF0000"/>
              </a:buClr>
              <a:defRPr/>
            </a:pPr>
            <a:r>
              <a:rPr lang="ru-RU" sz="1100" dirty="0">
                <a:solidFill>
                  <a:schemeClr val="bg1"/>
                </a:solidFill>
                <a:latin typeface="+mj-lt"/>
              </a:rPr>
              <a:t>Арматура на </a:t>
            </a:r>
            <a:r>
              <a:rPr lang="ru-RU" sz="1100" dirty="0" err="1">
                <a:solidFill>
                  <a:schemeClr val="bg1"/>
                </a:solidFill>
                <a:latin typeface="+mj-lt"/>
              </a:rPr>
              <a:t>кислородопроводе</a:t>
            </a:r>
            <a:r>
              <a:rPr lang="ru-RU" sz="1100" dirty="0">
                <a:solidFill>
                  <a:schemeClr val="bg1"/>
                </a:solidFill>
                <a:latin typeface="+mj-lt"/>
              </a:rPr>
              <a:t> выполнена из сплава </a:t>
            </a:r>
            <a:r>
              <a:rPr lang="ru-RU" sz="1100" dirty="0" smtClean="0">
                <a:solidFill>
                  <a:schemeClr val="bg1"/>
                </a:solidFill>
                <a:latin typeface="+mj-lt"/>
              </a:rPr>
              <a:t>титана</a:t>
            </a:r>
            <a:endParaRPr lang="ru-RU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519237" y="1082166"/>
            <a:ext cx="4042507" cy="1095832"/>
          </a:xfrm>
          <a:prstGeom prst="rect">
            <a:avLst/>
          </a:prstGeom>
          <a:ln w="6350">
            <a:solidFill>
              <a:schemeClr val="tx1"/>
            </a:solidFill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just" defTabSz="844083"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При осуществлении ПК </a:t>
            </a:r>
            <a:r>
              <a:rPr lang="ru-RU" sz="1100" dirty="0" smtClean="0">
                <a:solidFill>
                  <a:schemeClr val="tx1"/>
                </a:solidFill>
              </a:rPr>
              <a:t>ответственным </a:t>
            </a:r>
            <a:r>
              <a:rPr lang="ru-RU" sz="1100" dirty="0">
                <a:solidFill>
                  <a:schemeClr val="tx1"/>
                </a:solidFill>
              </a:rPr>
              <a:t>за </a:t>
            </a:r>
            <a:r>
              <a:rPr lang="ru-RU" sz="1100" dirty="0" smtClean="0">
                <a:solidFill>
                  <a:schemeClr val="tx1"/>
                </a:solidFill>
              </a:rPr>
              <a:t>безопасную </a:t>
            </a:r>
            <a:r>
              <a:rPr lang="ru-RU" sz="1100" dirty="0">
                <a:solidFill>
                  <a:schemeClr val="tx1"/>
                </a:solidFill>
              </a:rPr>
              <a:t>эксплуатацию </a:t>
            </a:r>
            <a:r>
              <a:rPr lang="ru-RU" sz="1100" dirty="0" smtClean="0">
                <a:solidFill>
                  <a:schemeClr val="tx1"/>
                </a:solidFill>
              </a:rPr>
              <a:t>кислородопровода менеджером </a:t>
            </a:r>
            <a:r>
              <a:rPr lang="ru-RU" sz="1100" dirty="0">
                <a:solidFill>
                  <a:schemeClr val="tx1"/>
                </a:solidFill>
              </a:rPr>
              <a:t>по эксплуатации сетей ПРВ КЦ </a:t>
            </a:r>
            <a:r>
              <a:rPr lang="ru-RU" sz="1100" dirty="0">
                <a:solidFill>
                  <a:schemeClr val="tx1"/>
                </a:solidFill>
              </a:rPr>
              <a:t>не </a:t>
            </a:r>
            <a:r>
              <a:rPr lang="ru-RU" sz="1100" dirty="0">
                <a:solidFill>
                  <a:schemeClr val="tx1"/>
                </a:solidFill>
              </a:rPr>
              <a:t>было </a:t>
            </a:r>
            <a:r>
              <a:rPr lang="ru-RU" sz="1100" dirty="0">
                <a:solidFill>
                  <a:schemeClr val="tx1"/>
                </a:solidFill>
                <a:latin typeface="+mj-lt"/>
              </a:rPr>
              <a:t>выявлено отсутствие паспорта на арматуру и, как следствие, не проверено её соответствие требованиям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ПБ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523335" y="2555006"/>
            <a:ext cx="4042507" cy="892090"/>
          </a:xfrm>
          <a:prstGeom prst="rect">
            <a:avLst/>
          </a:prstGeom>
          <a:ln w="6350">
            <a:solidFill>
              <a:schemeClr val="tx1"/>
            </a:solidFill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just" defTabSz="844083"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Отсутствие полной ревизии арматуры, находящейся в эксплуатации более 20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лет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523335" y="4078569"/>
            <a:ext cx="4042507" cy="1092321"/>
          </a:xfrm>
          <a:prstGeom prst="rect">
            <a:avLst/>
          </a:prstGeom>
          <a:ln w="6350">
            <a:solidFill>
              <a:schemeClr val="tx1"/>
            </a:solidFill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just" defTabSz="844083"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При проведении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ЭПБ </a:t>
            </a:r>
            <a:r>
              <a:rPr lang="ru-RU" sz="1100" dirty="0">
                <a:solidFill>
                  <a:schemeClr val="tx1"/>
                </a:solidFill>
                <a:latin typeface="+mj-lt"/>
              </a:rPr>
              <a:t>не проводилась проверка соответствия арматуры проекту и установленным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требованиям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6725240" y="3820518"/>
            <a:ext cx="5055170" cy="711076"/>
          </a:xfrm>
          <a:prstGeom prst="rect">
            <a:avLst/>
          </a:prstGeom>
          <a:ln w="6350">
            <a:solidFill>
              <a:schemeClr val="tx1"/>
            </a:solidFill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just" defTabSz="844083">
              <a:defRPr/>
            </a:pP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Некачественное </a:t>
            </a:r>
            <a:r>
              <a:rPr lang="ru-RU" sz="1100" dirty="0">
                <a:solidFill>
                  <a:schemeClr val="tx1"/>
                </a:solidFill>
                <a:latin typeface="+mj-lt"/>
              </a:rPr>
              <a:t>проведение ЭПБ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экспертными организациями                     АО «</a:t>
            </a:r>
            <a:r>
              <a:rPr lang="ru-RU" sz="1100" dirty="0" err="1" smtClean="0">
                <a:solidFill>
                  <a:schemeClr val="tx1"/>
                </a:solidFill>
                <a:latin typeface="+mj-lt"/>
              </a:rPr>
              <a:t>Системэнерго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» и ООО «Промышленная экспертиза» – </a:t>
            </a:r>
            <a:r>
              <a:rPr lang="ru-RU" sz="1100" dirty="0">
                <a:solidFill>
                  <a:schemeClr val="tx1"/>
                </a:solidFill>
                <a:latin typeface="+mj-lt"/>
              </a:rPr>
              <a:t>не проводилась оценка соответствия установленной арматуры проекту и требованиям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ПБ</a:t>
            </a:r>
            <a:endParaRPr lang="ru-RU" sz="11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6725239" y="4708823"/>
            <a:ext cx="5055171" cy="712800"/>
          </a:xfrm>
          <a:prstGeom prst="rect">
            <a:avLst/>
          </a:prstGeom>
          <a:ln w="6350">
            <a:solidFill>
              <a:schemeClr val="tx1"/>
            </a:solidFill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44083">
              <a:defRPr/>
            </a:pP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Отсутствие </a:t>
            </a:r>
            <a:r>
              <a:rPr lang="ru-RU" sz="1100" dirty="0">
                <a:solidFill>
                  <a:schemeClr val="tx1"/>
                </a:solidFill>
                <a:latin typeface="+mj-lt"/>
              </a:rPr>
              <a:t>контроля за качеством проведения ЭПБ объектов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ПРВ со стороны ответственных за безопасную эксплуатацию, исправное состояние и осуществление производственного контроля при эксплуатации </a:t>
            </a:r>
            <a:r>
              <a:rPr lang="ru-RU" sz="1100" dirty="0">
                <a:solidFill>
                  <a:schemeClr val="tx1"/>
                </a:solidFill>
              </a:rPr>
              <a:t>объектов ПРВ </a:t>
            </a:r>
            <a:endParaRPr lang="ru-RU" sz="11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721139" y="1082166"/>
            <a:ext cx="5055171" cy="1095832"/>
          </a:xfrm>
          <a:prstGeom prst="rect">
            <a:avLst/>
          </a:prstGeom>
          <a:ln w="6350">
            <a:solidFill>
              <a:schemeClr val="tx1"/>
            </a:solidFill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just" defTabSz="844083">
              <a:defRPr/>
            </a:pP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Ответственный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за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безопасную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эксплуатацию </a:t>
            </a:r>
            <a:r>
              <a:rPr lang="ru-RU" sz="1100" dirty="0">
                <a:solidFill>
                  <a:schemeClr val="tx1"/>
                </a:solidFill>
              </a:rPr>
              <a:t>кислородопровода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не обеспечил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наличие необходимой технической документации и соответствие арматуры кислородопровода требованиям ПБ, считая положительное заключение ЭПБ достаточным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6725239" y="2555006"/>
            <a:ext cx="5047502" cy="892090"/>
          </a:xfrm>
          <a:prstGeom prst="rect">
            <a:avLst/>
          </a:prstGeom>
          <a:ln w="6350">
            <a:solidFill>
              <a:schemeClr val="tx1"/>
            </a:solidFill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just" defTabSz="844083"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Отсутствие в государственных (распространяющихся на объекты металлургии) и локальных нормативных актах требований по ревизии запорной арматуры в части её периодичности и объема – риски, связанные с отсутствием ревизии не были 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выявлены</a:t>
            </a:r>
          </a:p>
        </p:txBody>
      </p:sp>
      <p:cxnSp>
        <p:nvCxnSpPr>
          <p:cNvPr id="6" name="Прямая со стрелкой 5"/>
          <p:cNvCxnSpPr>
            <a:stCxn id="16" idx="3"/>
          </p:cNvCxnSpPr>
          <p:nvPr/>
        </p:nvCxnSpPr>
        <p:spPr bwMode="auto">
          <a:xfrm flipV="1">
            <a:off x="6565842" y="4201112"/>
            <a:ext cx="167066" cy="42361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Прямая со стрелкой 7"/>
          <p:cNvCxnSpPr>
            <a:endCxn id="21" idx="1"/>
          </p:cNvCxnSpPr>
          <p:nvPr/>
        </p:nvCxnSpPr>
        <p:spPr bwMode="auto">
          <a:xfrm>
            <a:off x="6565843" y="4624729"/>
            <a:ext cx="159396" cy="44049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 стрелкой 9"/>
          <p:cNvCxnSpPr>
            <a:stCxn id="17" idx="3"/>
            <a:endCxn id="22" idx="1"/>
          </p:cNvCxnSpPr>
          <p:nvPr/>
        </p:nvCxnSpPr>
        <p:spPr bwMode="auto">
          <a:xfrm>
            <a:off x="6561744" y="1630082"/>
            <a:ext cx="159395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 стрелкой 13"/>
          <p:cNvCxnSpPr>
            <a:stCxn id="18" idx="3"/>
          </p:cNvCxnSpPr>
          <p:nvPr/>
        </p:nvCxnSpPr>
        <p:spPr bwMode="auto">
          <a:xfrm flipV="1">
            <a:off x="6565842" y="3000406"/>
            <a:ext cx="167064" cy="64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Прямая со стрелкой 18"/>
          <p:cNvCxnSpPr>
            <a:stCxn id="13" idx="3"/>
            <a:endCxn id="17" idx="1"/>
          </p:cNvCxnSpPr>
          <p:nvPr/>
        </p:nvCxnSpPr>
        <p:spPr bwMode="auto">
          <a:xfrm flipV="1">
            <a:off x="2285455" y="1630082"/>
            <a:ext cx="233782" cy="1379510"/>
          </a:xfrm>
          <a:prstGeom prst="straightConnector1">
            <a:avLst/>
          </a:prstGeom>
          <a:ln>
            <a:headEnd type="none" w="med" len="med"/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>
            <a:endCxn id="18" idx="1"/>
          </p:cNvCxnSpPr>
          <p:nvPr/>
        </p:nvCxnSpPr>
        <p:spPr bwMode="auto">
          <a:xfrm flipV="1">
            <a:off x="2277786" y="3001051"/>
            <a:ext cx="245549" cy="8541"/>
          </a:xfrm>
          <a:prstGeom prst="straightConnector1">
            <a:avLst/>
          </a:prstGeom>
          <a:ln>
            <a:headEnd type="none" w="med" len="med"/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>
            <a:stCxn id="13" idx="3"/>
            <a:endCxn id="16" idx="1"/>
          </p:cNvCxnSpPr>
          <p:nvPr/>
        </p:nvCxnSpPr>
        <p:spPr bwMode="auto">
          <a:xfrm>
            <a:off x="2285455" y="3009592"/>
            <a:ext cx="237880" cy="1615138"/>
          </a:xfrm>
          <a:prstGeom prst="straightConnector1">
            <a:avLst/>
          </a:prstGeom>
          <a:ln>
            <a:headEnd type="none" w="med" len="med"/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3272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чины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C71F5E-B105-F846-8C78-50BC8A6B4F16}"/>
              </a:ext>
            </a:extLst>
          </p:cNvPr>
          <p:cNvSpPr txBox="1">
            <a:spLocks noChangeAspect="1"/>
          </p:cNvSpPr>
          <p:nvPr/>
        </p:nvSpPr>
        <p:spPr>
          <a:xfrm>
            <a:off x="8616280" y="476672"/>
            <a:ext cx="2357838" cy="24622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108000" indent="-108000" defTabSz="91440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000">
                <a:solidFill>
                  <a:srgbClr val="495359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F6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рневые причины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7C71F5E-B105-F846-8C78-50BC8A6B4F16}"/>
              </a:ext>
            </a:extLst>
          </p:cNvPr>
          <p:cNvSpPr txBox="1">
            <a:spLocks noChangeAspect="1"/>
          </p:cNvSpPr>
          <p:nvPr/>
        </p:nvSpPr>
        <p:spPr>
          <a:xfrm>
            <a:off x="3146660" y="476671"/>
            <a:ext cx="3093355" cy="246221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108000" indent="-108000" defTabSz="914400"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000">
                <a:solidFill>
                  <a:srgbClr val="495359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2F6C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епосредственные причин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35">
            <a:extLst>
              <a:ext uri="{FF2B5EF4-FFF2-40B4-BE49-F238E27FC236}">
                <a16:creationId xmlns:a16="http://schemas.microsoft.com/office/drawing/2014/main" id="{542DF8F7-E039-F94D-B451-96552FF68EF7}"/>
              </a:ext>
            </a:extLst>
          </p:cNvPr>
          <p:cNvSpPr/>
          <p:nvPr/>
        </p:nvSpPr>
        <p:spPr>
          <a:xfrm>
            <a:off x="227348" y="2060848"/>
            <a:ext cx="2088232" cy="1800199"/>
          </a:xfrm>
          <a:prstGeom prst="rect">
            <a:avLst/>
          </a:prstGeom>
          <a:gradFill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4200000" scaled="0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360000" tIns="0" rIns="360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spcAft>
                <a:spcPts val="600"/>
              </a:spcAft>
              <a:buClr>
                <a:srgbClr val="FF0000"/>
              </a:buClr>
              <a:defRPr/>
            </a:pPr>
            <a:r>
              <a:rPr lang="ru-RU" sz="1100" b="1" dirty="0">
                <a:solidFill>
                  <a:srgbClr val="FFFFFF"/>
                </a:solidFill>
              </a:rPr>
              <a:t>Критический </a:t>
            </a:r>
            <a:r>
              <a:rPr lang="ru-RU" sz="1100" b="1" dirty="0" smtClean="0">
                <a:solidFill>
                  <a:srgbClr val="FFFFFF"/>
                </a:solidFill>
              </a:rPr>
              <a:t>фактор № 2:</a:t>
            </a:r>
          </a:p>
          <a:p>
            <a:pPr defTabSz="895350">
              <a:spcAft>
                <a:spcPts val="600"/>
              </a:spcAft>
              <a:buClr>
                <a:srgbClr val="FF0000"/>
              </a:buClr>
              <a:defRPr/>
            </a:pPr>
            <a:r>
              <a:rPr lang="ru-RU" sz="1100" dirty="0">
                <a:solidFill>
                  <a:schemeClr val="bg1"/>
                </a:solidFill>
              </a:rPr>
              <a:t>Отсутствие продувки </a:t>
            </a:r>
            <a:r>
              <a:rPr lang="ru-RU" sz="1100" dirty="0" err="1">
                <a:solidFill>
                  <a:schemeClr val="bg1"/>
                </a:solidFill>
              </a:rPr>
              <a:t>кислородопровода</a:t>
            </a:r>
            <a:r>
              <a:rPr lang="ru-RU" sz="1100" dirty="0">
                <a:solidFill>
                  <a:schemeClr val="bg1"/>
                </a:solidFill>
              </a:rPr>
              <a:t> перед его пуском в </a:t>
            </a:r>
            <a:r>
              <a:rPr lang="ru-RU" sz="1100" dirty="0" smtClean="0">
                <a:solidFill>
                  <a:schemeClr val="bg1"/>
                </a:solidFill>
              </a:rPr>
              <a:t>работу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 rot="10800000" flipV="1">
            <a:off x="2573172" y="1736811"/>
            <a:ext cx="3883112" cy="2448272"/>
          </a:xfrm>
          <a:prstGeom prst="rect">
            <a:avLst/>
          </a:prstGeom>
          <a:ln w="6350">
            <a:solidFill>
              <a:schemeClr val="tx1"/>
            </a:solidFill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just" defTabSz="844083">
              <a:defRPr/>
            </a:pPr>
            <a:r>
              <a:rPr lang="ru-RU" sz="1100" dirty="0">
                <a:solidFill>
                  <a:schemeClr val="tx1"/>
                </a:solidFill>
              </a:rPr>
              <a:t>В нарушение правил кислородопровод перед началом эксплуатации не был продут в течение не менее </a:t>
            </a:r>
            <a:r>
              <a:rPr lang="ru-RU" sz="1100" dirty="0" smtClean="0">
                <a:solidFill>
                  <a:schemeClr val="tx1"/>
                </a:solidFill>
              </a:rPr>
              <a:t>2-х </a:t>
            </a:r>
            <a:r>
              <a:rPr lang="ru-RU" sz="1100" dirty="0">
                <a:solidFill>
                  <a:schemeClr val="tx1"/>
                </a:solidFill>
              </a:rPr>
              <a:t>часов с контролем по отсутствию примесей в выходящем потоке:</a:t>
            </a:r>
          </a:p>
          <a:p>
            <a:pPr marL="171450" indent="-171450" algn="just" defTabSz="844083">
              <a:buFont typeface="Arial" panose="020B0604020202020204" pitchFamily="34" charset="0"/>
              <a:buChar char="•"/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и.о</a:t>
            </a:r>
            <a:r>
              <a:rPr lang="ru-RU" sz="1100" dirty="0">
                <a:solidFill>
                  <a:schemeClr val="tx1"/>
                </a:solidFill>
              </a:rPr>
              <a:t>. начальника </a:t>
            </a:r>
            <a:r>
              <a:rPr lang="ru-RU" sz="1100" dirty="0" smtClean="0">
                <a:solidFill>
                  <a:schemeClr val="tx1"/>
                </a:solidFill>
              </a:rPr>
              <a:t>ЦРПО (выдающий </a:t>
            </a:r>
            <a:r>
              <a:rPr lang="ru-RU" sz="1100" dirty="0">
                <a:solidFill>
                  <a:schemeClr val="tx1"/>
                </a:solidFill>
              </a:rPr>
              <a:t/>
            </a:r>
            <a:br>
              <a:rPr lang="ru-RU" sz="1100" dirty="0">
                <a:solidFill>
                  <a:schemeClr val="tx1"/>
                </a:solidFill>
              </a:rPr>
            </a:br>
            <a:r>
              <a:rPr lang="ru-RU" sz="1100" dirty="0" smtClean="0">
                <a:solidFill>
                  <a:schemeClr val="tx1"/>
                </a:solidFill>
              </a:rPr>
              <a:t>НД </a:t>
            </a:r>
            <a:r>
              <a:rPr lang="ru-RU" sz="1100" dirty="0">
                <a:solidFill>
                  <a:schemeClr val="tx1"/>
                </a:solidFill>
              </a:rPr>
              <a:t>на выполнение работ повышенной опасности</a:t>
            </a:r>
            <a:r>
              <a:rPr lang="ru-RU" sz="1100" dirty="0" smtClean="0">
                <a:solidFill>
                  <a:schemeClr val="tx1"/>
                </a:solidFill>
              </a:rPr>
              <a:t>) не </a:t>
            </a:r>
            <a:r>
              <a:rPr lang="ru-RU" sz="1100" dirty="0">
                <a:solidFill>
                  <a:schemeClr val="tx1"/>
                </a:solidFill>
              </a:rPr>
              <a:t>определил порядок остановки и продувки трубопроводов, меры безопасности и лиц, ответственных за выполнения мероприятий;</a:t>
            </a:r>
          </a:p>
          <a:p>
            <a:pPr marL="171450" indent="-171450" algn="just" defTabSz="844083">
              <a:buFont typeface="Arial" panose="020B0604020202020204" pitchFamily="34" charset="0"/>
              <a:buChar char="•"/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мастер </a:t>
            </a:r>
            <a:r>
              <a:rPr lang="ru-RU" sz="1100" dirty="0">
                <a:solidFill>
                  <a:schemeClr val="tx1"/>
                </a:solidFill>
              </a:rPr>
              <a:t>по ремонту оборудования (</a:t>
            </a:r>
            <a:r>
              <a:rPr lang="ru-RU" sz="1100" dirty="0" err="1">
                <a:solidFill>
                  <a:schemeClr val="tx1"/>
                </a:solidFill>
              </a:rPr>
              <a:t>механооборудование</a:t>
            </a:r>
            <a:r>
              <a:rPr lang="ru-RU" sz="1100" dirty="0">
                <a:solidFill>
                  <a:schemeClr val="tx1"/>
                </a:solidFill>
              </a:rPr>
              <a:t>) ЦРПО </a:t>
            </a:r>
            <a:r>
              <a:rPr lang="ru-RU" sz="1100" dirty="0" smtClean="0">
                <a:solidFill>
                  <a:schemeClr val="tx1"/>
                </a:solidFill>
              </a:rPr>
              <a:t>(допускающий по НД) не </a:t>
            </a:r>
            <a:r>
              <a:rPr lang="ru-RU" sz="1100" dirty="0">
                <a:solidFill>
                  <a:schemeClr val="tx1"/>
                </a:solidFill>
              </a:rPr>
              <a:t>обеспечил продувку кислородопровода перед вводом его в </a:t>
            </a:r>
            <a:r>
              <a:rPr lang="ru-RU" sz="1100" dirty="0" smtClean="0">
                <a:solidFill>
                  <a:schemeClr val="tx1"/>
                </a:solidFill>
              </a:rPr>
              <a:t>эксплуатацию, не </a:t>
            </a:r>
            <a:r>
              <a:rPr lang="ru-RU" sz="1100" dirty="0">
                <a:solidFill>
                  <a:schemeClr val="tx1"/>
                </a:solidFill>
              </a:rPr>
              <a:t>убедился в готовности кислородопровода к подаче </a:t>
            </a:r>
            <a:r>
              <a:rPr lang="ru-RU" sz="1100" dirty="0" smtClean="0">
                <a:solidFill>
                  <a:schemeClr val="tx1"/>
                </a:solidFill>
              </a:rPr>
              <a:t>кислорода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6702749" y="1736811"/>
            <a:ext cx="5034725" cy="1263155"/>
          </a:xfrm>
          <a:prstGeom prst="rect">
            <a:avLst/>
          </a:prstGeom>
          <a:ln w="6350">
            <a:solidFill>
              <a:schemeClr val="tx1"/>
            </a:solidFill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just" defTabSz="844083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Выполнение </a:t>
            </a:r>
            <a:r>
              <a:rPr lang="ru-RU" sz="1100" dirty="0">
                <a:solidFill>
                  <a:schemeClr val="tx1"/>
                </a:solidFill>
              </a:rPr>
              <a:t>работ по ремонту </a:t>
            </a:r>
            <a:r>
              <a:rPr lang="ru-RU" sz="1100" dirty="0" err="1">
                <a:solidFill>
                  <a:schemeClr val="tx1"/>
                </a:solidFill>
              </a:rPr>
              <a:t>кислородопровода</a:t>
            </a:r>
            <a:r>
              <a:rPr lang="ru-RU" sz="1100" dirty="0">
                <a:solidFill>
                  <a:schemeClr val="tx1"/>
                </a:solidFill>
              </a:rPr>
              <a:t> не было организовано должным образом: </a:t>
            </a:r>
          </a:p>
          <a:p>
            <a:pPr algn="just" defTabSz="844083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- ввиду </a:t>
            </a:r>
            <a:r>
              <a:rPr lang="ru-RU" sz="1100" dirty="0">
                <a:solidFill>
                  <a:schemeClr val="tx1"/>
                </a:solidFill>
              </a:rPr>
              <a:t>недостаточного опыта и знаний и.о. начальника </a:t>
            </a:r>
            <a:r>
              <a:rPr lang="ru-RU" sz="1100" dirty="0" smtClean="0">
                <a:solidFill>
                  <a:schemeClr val="tx1"/>
                </a:solidFill>
              </a:rPr>
              <a:t>цеха </a:t>
            </a:r>
            <a:r>
              <a:rPr lang="ru-RU" sz="1100" dirty="0">
                <a:solidFill>
                  <a:schemeClr val="tx1"/>
                </a:solidFill>
              </a:rPr>
              <a:t>в организации работ на трубопроводах газа и кислорода, в том числе, из-за отсутствия наставничества со стороны вышестоящего руководителя;</a:t>
            </a:r>
          </a:p>
          <a:p>
            <a:pPr marL="171450" indent="-171450" algn="just" defTabSz="844083">
              <a:buFontTx/>
              <a:buChar char="-"/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отсутствие </a:t>
            </a:r>
            <a:r>
              <a:rPr lang="ru-RU" sz="1100" dirty="0">
                <a:solidFill>
                  <a:schemeClr val="tx1"/>
                </a:solidFill>
              </a:rPr>
              <a:t>графика проведения ремонтных работ, с указанием ответственных за каждый этап при проведении </a:t>
            </a:r>
            <a:r>
              <a:rPr lang="ru-RU" sz="1100" dirty="0" smtClean="0">
                <a:solidFill>
                  <a:schemeClr val="tx1"/>
                </a:solidFill>
              </a:rPr>
              <a:t>работ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6702749" y="3104964"/>
            <a:ext cx="5045879" cy="835488"/>
          </a:xfrm>
          <a:prstGeom prst="rect">
            <a:avLst/>
          </a:prstGeom>
          <a:ln w="6350">
            <a:solidFill>
              <a:schemeClr val="tx1"/>
            </a:solidFill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just" defTabSz="844083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Сознательное </a:t>
            </a:r>
            <a:r>
              <a:rPr lang="ru-RU" sz="1100" dirty="0">
                <a:solidFill>
                  <a:schemeClr val="tx1"/>
                </a:solidFill>
              </a:rPr>
              <a:t>непринятие мастером по ремонту оборудования (</a:t>
            </a:r>
            <a:r>
              <a:rPr lang="ru-RU" sz="1100" dirty="0" err="1">
                <a:solidFill>
                  <a:schemeClr val="tx1"/>
                </a:solidFill>
              </a:rPr>
              <a:t>механооборудование</a:t>
            </a:r>
            <a:r>
              <a:rPr lang="ru-RU" sz="1100" dirty="0">
                <a:solidFill>
                  <a:schemeClr val="tx1"/>
                </a:solidFill>
              </a:rPr>
              <a:t>) ЦРПО возложенного на него </a:t>
            </a:r>
            <a:r>
              <a:rPr lang="ru-RU" sz="1100" dirty="0" smtClean="0">
                <a:solidFill>
                  <a:schemeClr val="tx1"/>
                </a:solidFill>
              </a:rPr>
              <a:t>функционала</a:t>
            </a:r>
          </a:p>
        </p:txBody>
      </p:sp>
      <p:sp>
        <p:nvSpPr>
          <p:cNvPr id="28" name="Rectangle 35">
            <a:extLst>
              <a:ext uri="{FF2B5EF4-FFF2-40B4-BE49-F238E27FC236}">
                <a16:creationId xmlns:a16="http://schemas.microsoft.com/office/drawing/2014/main" id="{542DF8F7-E039-F94D-B451-96552FF68EF7}"/>
              </a:ext>
            </a:extLst>
          </p:cNvPr>
          <p:cNvSpPr/>
          <p:nvPr/>
        </p:nvSpPr>
        <p:spPr>
          <a:xfrm>
            <a:off x="221369" y="5013176"/>
            <a:ext cx="2094211" cy="1404156"/>
          </a:xfrm>
          <a:prstGeom prst="rect">
            <a:avLst/>
          </a:prstGeom>
          <a:gradFill>
            <a:gsLst>
              <a:gs pos="0">
                <a:schemeClr val="accent2"/>
              </a:gs>
              <a:gs pos="86000">
                <a:schemeClr val="accent2">
                  <a:lumMod val="75000"/>
                </a:schemeClr>
              </a:gs>
            </a:gsLst>
            <a:lin ang="4200000" scaled="0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360000" tIns="0" rIns="360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95350">
              <a:spcAft>
                <a:spcPts val="600"/>
              </a:spcAft>
              <a:buClr>
                <a:srgbClr val="FF0000"/>
              </a:buClr>
              <a:defRPr/>
            </a:pPr>
            <a:r>
              <a:rPr lang="ru-RU" sz="1100" b="1" dirty="0">
                <a:solidFill>
                  <a:srgbClr val="FFFFFF"/>
                </a:solidFill>
              </a:rPr>
              <a:t>Критический </a:t>
            </a:r>
            <a:r>
              <a:rPr lang="ru-RU" sz="1100" b="1" dirty="0" smtClean="0">
                <a:solidFill>
                  <a:srgbClr val="FFFFFF"/>
                </a:solidFill>
              </a:rPr>
              <a:t>фактор № </a:t>
            </a:r>
            <a:r>
              <a:rPr lang="ru-RU" sz="1100" b="1" dirty="0">
                <a:solidFill>
                  <a:srgbClr val="FFFFFF"/>
                </a:solidFill>
              </a:rPr>
              <a:t>3</a:t>
            </a:r>
            <a:r>
              <a:rPr lang="ru-RU" sz="1100" b="1" dirty="0" smtClean="0">
                <a:solidFill>
                  <a:srgbClr val="FFFFFF"/>
                </a:solidFill>
              </a:rPr>
              <a:t>:</a:t>
            </a:r>
          </a:p>
          <a:p>
            <a:pPr defTabSz="895350">
              <a:spcAft>
                <a:spcPts val="600"/>
              </a:spcAft>
              <a:buClr>
                <a:srgbClr val="FF0000"/>
              </a:buClr>
              <a:defRPr/>
            </a:pPr>
            <a:r>
              <a:rPr lang="ru-RU" sz="1100" dirty="0">
                <a:solidFill>
                  <a:schemeClr val="bg1"/>
                </a:solidFill>
              </a:rPr>
              <a:t>Применение работниками </a:t>
            </a:r>
            <a:r>
              <a:rPr lang="ru-RU" sz="1100" dirty="0" err="1">
                <a:solidFill>
                  <a:schemeClr val="bg1"/>
                </a:solidFill>
              </a:rPr>
              <a:t>неогнестойкой</a:t>
            </a:r>
            <a:r>
              <a:rPr lang="ru-RU" sz="1100" dirty="0">
                <a:solidFill>
                  <a:schemeClr val="bg1"/>
                </a:solidFill>
              </a:rPr>
              <a:t> </a:t>
            </a:r>
            <a:r>
              <a:rPr lang="ru-RU" sz="1100" dirty="0" smtClean="0">
                <a:solidFill>
                  <a:schemeClr val="bg1"/>
                </a:solidFill>
              </a:rPr>
              <a:t>спецодежды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 rot="10800000" flipV="1">
            <a:off x="2567609" y="5194697"/>
            <a:ext cx="3883112" cy="1042612"/>
          </a:xfrm>
          <a:prstGeom prst="rect">
            <a:avLst/>
          </a:prstGeom>
          <a:ln w="6350">
            <a:solidFill>
              <a:schemeClr val="tx1"/>
            </a:solidFill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just" defTabSz="844083">
              <a:defRPr/>
            </a:pPr>
            <a:r>
              <a:rPr lang="ru-RU" sz="1100" dirty="0">
                <a:solidFill>
                  <a:schemeClr val="tx1"/>
                </a:solidFill>
              </a:rPr>
              <a:t>Работникам выдается огнестойкий </a:t>
            </a:r>
            <a:r>
              <a:rPr lang="ru-RU" sz="1100" dirty="0" smtClean="0">
                <a:solidFill>
                  <a:schemeClr val="tx1"/>
                </a:solidFill>
              </a:rPr>
              <a:t>костюм. Его </a:t>
            </a:r>
            <a:r>
              <a:rPr lang="ru-RU" sz="1100" dirty="0">
                <a:solidFill>
                  <a:schemeClr val="tx1"/>
                </a:solidFill>
              </a:rPr>
              <a:t>применение при работе на кислородопроводе не регламентировано государственными и локальными </a:t>
            </a:r>
            <a:r>
              <a:rPr lang="ru-RU" sz="1100" dirty="0" smtClean="0">
                <a:solidFill>
                  <a:schemeClr val="tx1"/>
                </a:solidFill>
              </a:rPr>
              <a:t>требованиями, т.к. </a:t>
            </a:r>
            <a:r>
              <a:rPr lang="ru-RU" sz="1100" dirty="0">
                <a:solidFill>
                  <a:schemeClr val="tx1"/>
                </a:solidFill>
              </a:rPr>
              <a:t>работы не относятся к </a:t>
            </a:r>
            <a:r>
              <a:rPr lang="ru-RU" sz="1100" dirty="0" smtClean="0">
                <a:solidFill>
                  <a:schemeClr val="tx1"/>
                </a:solidFill>
              </a:rPr>
              <a:t>газоопасным </a:t>
            </a:r>
          </a:p>
        </p:txBody>
      </p:sp>
      <p:sp>
        <p:nvSpPr>
          <p:cNvPr id="30" name="Прямоугольник 29"/>
          <p:cNvSpPr/>
          <p:nvPr/>
        </p:nvSpPr>
        <p:spPr>
          <a:xfrm rot="10800000" flipV="1">
            <a:off x="6702749" y="5194696"/>
            <a:ext cx="5038744" cy="1044115"/>
          </a:xfrm>
          <a:prstGeom prst="rect">
            <a:avLst/>
          </a:prstGeom>
          <a:ln w="6350">
            <a:solidFill>
              <a:schemeClr val="tx1"/>
            </a:solidFill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just" defTabSz="844083">
              <a:defRPr/>
            </a:pPr>
            <a:r>
              <a:rPr lang="ru-RU" sz="1100" dirty="0">
                <a:solidFill>
                  <a:schemeClr val="tx1"/>
                </a:solidFill>
              </a:rPr>
              <a:t>Недооценен риск возможного возгорания в среде кислорода. Огнестойкая спецодежда обладает лучшими огнеупорными и соответственно защитными свойствами в сравнении с обычной, но не используется </a:t>
            </a:r>
            <a:r>
              <a:rPr lang="ru-RU" sz="1100" dirty="0" smtClean="0">
                <a:solidFill>
                  <a:schemeClr val="tx1"/>
                </a:solidFill>
              </a:rPr>
              <a:t>работниками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6702750" y="4041068"/>
            <a:ext cx="5034724" cy="910815"/>
          </a:xfrm>
          <a:prstGeom prst="rect">
            <a:avLst/>
          </a:prstGeom>
          <a:ln w="6350">
            <a:solidFill>
              <a:schemeClr val="tx1"/>
            </a:solidFill>
            <a:headEnd/>
            <a:tailEnd/>
          </a:ln>
          <a:effectLst>
            <a:outerShdw blurRad="50800" dist="38100" dir="2700000" sx="101000" sy="101000" algn="tl" rotWithShape="0">
              <a:prstClr val="black">
                <a:alpha val="5000"/>
              </a:prstClr>
            </a:outerShdw>
          </a:effec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108000" tIns="0" rIns="10800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just" defTabSz="844083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Отсутствие </a:t>
            </a:r>
            <a:r>
              <a:rPr lang="ru-RU" sz="1100" dirty="0">
                <a:solidFill>
                  <a:schemeClr val="tx1"/>
                </a:solidFill>
              </a:rPr>
              <a:t>порядка взаимодействия КЦ с потребителями по контролю проведения испытания и продувки кислородопровода перед пуском его в </a:t>
            </a:r>
            <a:r>
              <a:rPr lang="ru-RU" sz="1100" dirty="0" smtClean="0">
                <a:solidFill>
                  <a:schemeClr val="tx1"/>
                </a:solidFill>
              </a:rPr>
              <a:t>эксплуатацию</a:t>
            </a:r>
          </a:p>
        </p:txBody>
      </p:sp>
      <p:cxnSp>
        <p:nvCxnSpPr>
          <p:cNvPr id="8" name="Прямая со стрелкой 7"/>
          <p:cNvCxnSpPr>
            <a:stCxn id="13" idx="3"/>
            <a:endCxn id="14" idx="3"/>
          </p:cNvCxnSpPr>
          <p:nvPr/>
        </p:nvCxnSpPr>
        <p:spPr bwMode="auto">
          <a:xfrm flipV="1">
            <a:off x="2315580" y="2960947"/>
            <a:ext cx="257592" cy="1"/>
          </a:xfrm>
          <a:prstGeom prst="straightConnector1">
            <a:avLst/>
          </a:prstGeom>
          <a:ln>
            <a:headEnd type="none" w="med" len="med"/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>
            <a:stCxn id="28" idx="3"/>
            <a:endCxn id="29" idx="3"/>
          </p:cNvCxnSpPr>
          <p:nvPr/>
        </p:nvCxnSpPr>
        <p:spPr bwMode="auto">
          <a:xfrm>
            <a:off x="2315580" y="5715254"/>
            <a:ext cx="252029" cy="749"/>
          </a:xfrm>
          <a:prstGeom prst="straightConnector1">
            <a:avLst/>
          </a:prstGeom>
          <a:ln>
            <a:headEnd type="none" w="med" len="med"/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>
            <a:stCxn id="14" idx="1"/>
            <a:endCxn id="20" idx="1"/>
          </p:cNvCxnSpPr>
          <p:nvPr/>
        </p:nvCxnSpPr>
        <p:spPr bwMode="auto">
          <a:xfrm flipV="1">
            <a:off x="6456284" y="2368389"/>
            <a:ext cx="246465" cy="592558"/>
          </a:xfrm>
          <a:prstGeom prst="straightConnector1">
            <a:avLst/>
          </a:prstGeom>
          <a:ln>
            <a:headEnd type="none" w="med" len="med"/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>
            <a:stCxn id="14" idx="1"/>
            <a:endCxn id="27" idx="1"/>
          </p:cNvCxnSpPr>
          <p:nvPr/>
        </p:nvCxnSpPr>
        <p:spPr bwMode="auto">
          <a:xfrm>
            <a:off x="6456284" y="2960947"/>
            <a:ext cx="246465" cy="561761"/>
          </a:xfrm>
          <a:prstGeom prst="straightConnector1">
            <a:avLst/>
          </a:prstGeom>
          <a:ln>
            <a:headEnd type="none" w="med" len="med"/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>
            <a:stCxn id="14" idx="1"/>
            <a:endCxn id="31" idx="1"/>
          </p:cNvCxnSpPr>
          <p:nvPr/>
        </p:nvCxnSpPr>
        <p:spPr bwMode="auto">
          <a:xfrm>
            <a:off x="6456284" y="2960947"/>
            <a:ext cx="246466" cy="1535529"/>
          </a:xfrm>
          <a:prstGeom prst="straightConnector1">
            <a:avLst/>
          </a:prstGeom>
          <a:ln>
            <a:headEnd type="none" w="med" len="med"/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>
            <a:stCxn id="29" idx="1"/>
            <a:endCxn id="30" idx="3"/>
          </p:cNvCxnSpPr>
          <p:nvPr/>
        </p:nvCxnSpPr>
        <p:spPr bwMode="auto">
          <a:xfrm>
            <a:off x="6450721" y="5716003"/>
            <a:ext cx="252028" cy="751"/>
          </a:xfrm>
          <a:prstGeom prst="straightConnector1">
            <a:avLst/>
          </a:prstGeom>
          <a:ln>
            <a:headEnd type="none" w="med" len="med"/>
            <a:tailEnd type="triangle"/>
          </a:ln>
          <a:ex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8361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5037613"/>
              </p:ext>
            </p:extLst>
          </p:nvPr>
        </p:nvGraphicFramePr>
        <p:xfrm>
          <a:off x="227347" y="656692"/>
          <a:ext cx="11089234" cy="493768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32049">
                  <a:extLst>
                    <a:ext uri="{9D8B030D-6E8A-4147-A177-3AD203B41FA5}">
                      <a16:colId xmlns:a16="http://schemas.microsoft.com/office/drawing/2014/main" val="1555484731"/>
                    </a:ext>
                  </a:extLst>
                </a:gridCol>
                <a:gridCol w="9660717">
                  <a:extLst>
                    <a:ext uri="{9D8B030D-6E8A-4147-A177-3AD203B41FA5}">
                      <a16:colId xmlns:a16="http://schemas.microsoft.com/office/drawing/2014/main" val="1626835306"/>
                    </a:ext>
                  </a:extLst>
                </a:gridCol>
                <a:gridCol w="996468">
                  <a:extLst>
                    <a:ext uri="{9D8B030D-6E8A-4147-A177-3AD203B41FA5}">
                      <a16:colId xmlns:a16="http://schemas.microsoft.com/office/drawing/2014/main" val="2093367213"/>
                    </a:ext>
                  </a:extLst>
                </a:gridCol>
              </a:tblGrid>
              <a:tr h="238005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№ </a:t>
                      </a:r>
                      <a:r>
                        <a:rPr lang="ru-RU" sz="1000" dirty="0" err="1" smtClean="0"/>
                        <a:t>п.п</a:t>
                      </a:r>
                      <a:r>
                        <a:rPr lang="ru-RU" sz="1000" dirty="0" smtClean="0"/>
                        <a:t>.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Мероприятия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Статус</a:t>
                      </a:r>
                      <a:endParaRPr lang="ru-RU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6833446"/>
                  </a:ext>
                </a:extLst>
              </a:tr>
              <a:tr h="357008"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1.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Исключить операции по открытию, закрытию арматуры на всех кислородопроводах до проведения проверки данных по марке материала арматуры. Ознакомить лиц ответственных за безопасную эксплуатацию и исправное состояние под подпись.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Выполнено</a:t>
                      </a:r>
                      <a:endParaRPr lang="ru-RU" sz="1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9516557"/>
                  </a:ext>
                </a:extLst>
              </a:tr>
              <a:tr h="490886"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2.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ровести анализ наличия проектных данных по установленной арматуре, разрешительной документации на арматуру, соответствия установленной арматуры требованиям проектов и разрешительной документации, составить перечень арматуры, находящейся в эксплуатации более 40 лет.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ыполнено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13128"/>
                  </a:ext>
                </a:extLst>
              </a:tr>
              <a:tr h="624764"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3.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Арматуру, по которой отсутствуют данные по марке материала, исследовать методом намагничивания. По арматуре, на которой отсутствует намагничивание, провести определение содержания (наличие/отсутствие) титана (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Ti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)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рентгенофлуоресцентным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анализатором металлов Х-МЕТ 7500. В случае выявления титанового сплава сформировать протоколы контроля силами службы диагностики центра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«Промсервис».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ыполнено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634681"/>
                  </a:ext>
                </a:extLst>
              </a:tr>
              <a:tr h="357008"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4.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формировать программу по замене арматуры, не соответствующей установленным требованиям (арматура из сплавов на основе титана, не соответствующая проекту, разрешительной документации, находящаяся в эксплуатации более 40 лет). 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ыполнено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3721758"/>
                  </a:ext>
                </a:extLst>
              </a:tr>
              <a:tr h="490886"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5.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В случае необходимости отключения кислородопровода с установленной запорной арматурой, не соответствующей требованиям Правил, разработать программу по отключению предустановленной по ходу среды запорной арматуры. Программу утвердить у директора по энергетике – начальника производства энергоресурсов.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работе</a:t>
                      </a:r>
                      <a:endParaRPr lang="ru-RU" sz="11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8846047"/>
                  </a:ext>
                </a:extLst>
              </a:tr>
              <a:tr h="357008"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.</a:t>
                      </a:r>
                      <a:endParaRPr lang="ru-RU" sz="110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ганизовать разработку порядка взаимодействия между подразделениями при включении/отключении трубопроводов ПРВ и горючих газов на границе зон эксплуатационной ответственности.</a:t>
                      </a:r>
                      <a:endParaRPr lang="ru-RU" sz="110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Выполнено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1873267"/>
                  </a:ext>
                </a:extLst>
              </a:tr>
              <a:tr h="357008"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7.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ред началом проведения работ на трубопроводах (природный газ, кислород), проводить совещание с представителями производства энергоресурсов, подрядной организацией, выполняющей работы, для совместного определения порядка выполнения работ, разработки графика  последовательности их выполнения и назначения ответственных за мероприятия.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 работе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6129273"/>
                  </a:ext>
                </a:extLst>
              </a:tr>
              <a:tr h="357008"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.</a:t>
                      </a:r>
                      <a:endParaRPr lang="ru-RU" sz="110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нести изменение в ИОТ 0-02 в части необходимости продувки кислородопроводов по индивидуальной программе, содержащей расчет обеспечения скорости продувки на выходе не менее 40 м/с.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ыполнено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762358"/>
                  </a:ext>
                </a:extLst>
              </a:tr>
              <a:tr h="357008">
                <a:tc>
                  <a:txBody>
                    <a:bodyPr/>
                    <a:lstStyle/>
                    <a:p>
                      <a:pPr marL="0" marR="0" lvl="0" indent="0" algn="ctr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.</a:t>
                      </a:r>
                      <a:endParaRPr lang="ru-RU" sz="1100" b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смотреть ТК-1162-20 «Технологическая карта, на установку/снятие </a:t>
                      </a:r>
                      <a:r>
                        <a:rPr lang="ru-RU" sz="110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жфланцевых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заглушек на кислородопроводах УГЭ» в части типоразмеров устанавливаемых заглушек и применяемых СИЗ. 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ыполнено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8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987787"/>
                  </a:ext>
                </a:extLst>
              </a:tr>
            </a:tbl>
          </a:graphicData>
        </a:graphic>
      </p:graphicFrame>
      <p:sp>
        <p:nvSpPr>
          <p:cNvPr id="7" name="Заголовок 2">
            <a:extLst>
              <a:ext uri="{FF2B5EF4-FFF2-40B4-BE49-F238E27FC236}">
                <a16:creationId xmlns:a16="http://schemas.microsoft.com/office/drawing/2014/main" id="{D5C4C0D6-E374-4257-A96E-E46C462A67A8}"/>
              </a:ext>
            </a:extLst>
          </p:cNvPr>
          <p:cNvSpPr txBox="1">
            <a:spLocks/>
          </p:cNvSpPr>
          <p:nvPr/>
        </p:nvSpPr>
        <p:spPr>
          <a:xfrm>
            <a:off x="315189" y="332656"/>
            <a:ext cx="10379284" cy="297962"/>
          </a:xfrm>
          <a:prstGeom prst="rect">
            <a:avLst/>
          </a:prstGeom>
        </p:spPr>
        <p:txBody>
          <a:bodyPr vert="horz" wrap="square" lIns="0" tIns="36000" rIns="0" bIns="0" rtlCol="0" anchor="ctr">
            <a:spAutoFit/>
          </a:bodyPr>
          <a:lstStyle>
            <a:lvl1pPr algn="l" defTabSz="883649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2000" b="1" i="0" spc="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2pPr>
            <a:lvl3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3pPr>
            <a:lvl4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4pPr>
            <a:lvl5pPr algn="l" defTabSz="883649" rtl="0" eaLnBrk="0" fontAlgn="base" hangingPunct="0">
              <a:spcBef>
                <a:spcPct val="0"/>
              </a:spcBef>
              <a:spcAft>
                <a:spcPct val="0"/>
              </a:spcAft>
              <a:defRPr sz="1846" i="1">
                <a:solidFill>
                  <a:srgbClr val="00579C"/>
                </a:solidFill>
                <a:latin typeface="Arial" charset="0"/>
              </a:defRPr>
            </a:lvl5pPr>
            <a:lvl6pPr marL="422041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6pPr>
            <a:lvl7pPr marL="844083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7pPr>
            <a:lvl8pPr marL="1266124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8pPr>
            <a:lvl9pPr marL="1688165" algn="l" defTabSz="883649" rtl="0" fontAlgn="base">
              <a:spcBef>
                <a:spcPct val="0"/>
              </a:spcBef>
              <a:spcAft>
                <a:spcPct val="0"/>
              </a:spcAft>
              <a:defRPr sz="2585" i="1">
                <a:solidFill>
                  <a:srgbClr val="00579C"/>
                </a:solidFill>
                <a:latin typeface="Arial" charset="0"/>
              </a:defRPr>
            </a:lvl9pPr>
          </a:lstStyle>
          <a:p>
            <a:r>
              <a:rPr lang="ru-RU" kern="0" dirty="0" smtClean="0"/>
              <a:t>Мероприятия</a:t>
            </a:r>
            <a:endParaRPr lang="ru-RU" kern="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B9CAC58-44C9-4DC0-A6AF-0B4057C34224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7192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ENweIwY6jh4XT6Url1z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JZMCVcH1lSwJLJfNCY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i5Rmn_rscOZjzwBCWX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w2t.8slMjdMOkuvBmwSQ"/>
</p:tagLst>
</file>

<file path=ppt/theme/theme1.xml><?xml version="1.0" encoding="utf-8"?>
<a:theme xmlns:a="http://schemas.openxmlformats.org/drawingml/2006/main" name="1_Severstal_new">
  <a:themeElements>
    <a:clrScheme name="Другая 8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002F6C"/>
      </a:accent2>
      <a:accent3>
        <a:srgbClr val="909090"/>
      </a:accent3>
      <a:accent4>
        <a:srgbClr val="00635B"/>
      </a:accent4>
      <a:accent5>
        <a:srgbClr val="523178"/>
      </a:accent5>
      <a:accent6>
        <a:srgbClr val="6F263D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Severstal_new">
  <a:themeElements>
    <a:clrScheme name="Другая 8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FF0000"/>
      </a:accent1>
      <a:accent2>
        <a:srgbClr val="002F6C"/>
      </a:accent2>
      <a:accent3>
        <a:srgbClr val="909090"/>
      </a:accent3>
      <a:accent4>
        <a:srgbClr val="00635B"/>
      </a:accent4>
      <a:accent5>
        <a:srgbClr val="523178"/>
      </a:accent5>
      <a:accent6>
        <a:srgbClr val="6F263D"/>
      </a:accent6>
      <a:hlink>
        <a:srgbClr val="D5D4C7"/>
      </a:hlink>
      <a:folHlink>
        <a:srgbClr val="D5D4C7"/>
      </a:folHlink>
    </a:clrScheme>
    <a:fontScheme name="Северстал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>
          <a:gsLst>
            <a:gs pos="0">
              <a:schemeClr val="accent2"/>
            </a:gs>
            <a:gs pos="100000">
              <a:schemeClr val="accent2">
                <a:lumMod val="75000"/>
              </a:schemeClr>
            </a:gs>
          </a:gsLst>
          <a:lin ang="5400000" scaled="1"/>
        </a:gradFill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ctr" anchorCtr="0" compatLnSpc="1">
        <a:prstTxWarp prst="textNoShape">
          <a:avLst/>
        </a:prstTxWarp>
        <a:noAutofit/>
      </a:bodyPr>
      <a:lstStyle>
        <a:defPPr marL="0" indent="0" algn="ctr" defTabSz="895350">
          <a:spcAft>
            <a:spcPts val="600"/>
          </a:spcAft>
          <a:buClr>
            <a:schemeClr val="accent1"/>
          </a:buClr>
          <a:buFont typeface="Wingdings" panose="05000000000000000000" pitchFamily="2" charset="2"/>
          <a:buNone/>
          <a:defRPr sz="1200" dirty="0" err="1" smtClean="0">
            <a:solidFill>
              <a:schemeClr val="bg1"/>
            </a:solidFill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algn="l">
          <a:defRPr sz="12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70ED2FF0C0B79A4997E31B771AEC3E6E" ma:contentTypeVersion="2" ma:contentTypeDescription="Создание документа." ma:contentTypeScope="" ma:versionID="ce9f216b9b30818e1d941e879215f1d0">
  <xsd:schema xmlns:xsd="http://www.w3.org/2001/XMLSchema" xmlns:xs="http://www.w3.org/2001/XMLSchema" xmlns:p="http://schemas.microsoft.com/office/2006/metadata/properties" xmlns:ns2="f311cce2-66c9-4cf1-b39a-428d5f170633" xmlns:ns3="4bad4e80-64da-46ca-9c26-983dd3f4de93" targetNamespace="http://schemas.microsoft.com/office/2006/metadata/properties" ma:root="true" ma:fieldsID="af86fcb4152ae32c586e80b18b004f94" ns2:_="" ns3:_="">
    <xsd:import namespace="f311cce2-66c9-4cf1-b39a-428d5f170633"/>
    <xsd:import namespace="4bad4e80-64da-46ca-9c26-983dd3f4de9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_x0441__x043e__x0440__x0442__x0438__x0440__x043e__x0432__x043a__x0430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11cce2-66c9-4cf1-b39a-428d5f17063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ad4e80-64da-46ca-9c26-983dd3f4de93" elementFormDefault="qualified">
    <xsd:import namespace="http://schemas.microsoft.com/office/2006/documentManagement/types"/>
    <xsd:import namespace="http://schemas.microsoft.com/office/infopath/2007/PartnerControls"/>
    <xsd:element name="_x0441__x043e__x0440__x0442__x0438__x0440__x043e__x0432__x043a__x0430_" ma:index="9" nillable="true" ma:displayName="сортировка" ma:internalName="_x0441__x043e__x0440__x0442__x0438__x0440__x043e__x0432__x043a__x0430_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441__x043e__x0440__x0442__x0438__x0440__x043e__x0432__x043a__x0430_ xmlns="4bad4e80-64da-46ca-9c26-983dd3f4de93" xsi:nil="true"/>
  </documentManagement>
</p:properties>
</file>

<file path=customXml/itemProps1.xml><?xml version="1.0" encoding="utf-8"?>
<ds:datastoreItem xmlns:ds="http://schemas.openxmlformats.org/officeDocument/2006/customXml" ds:itemID="{EDBAC4D3-9EA4-4770-A0BD-2AA884FC644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11cce2-66c9-4cf1-b39a-428d5f170633"/>
    <ds:schemaRef ds:uri="4bad4e80-64da-46ca-9c26-983dd3f4de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BD40CE1-2CC8-4313-8A76-C82E09FBD67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186E4B6-60DD-42BD-B1C7-1715ECCCC693}">
  <ds:schemaRefs>
    <ds:schemaRef ds:uri="4bad4e80-64da-46ca-9c26-983dd3f4de9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f311cce2-66c9-4cf1-b39a-428d5f17063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1105</TotalTime>
  <Words>930</Words>
  <Application>Microsoft Office PowerPoint</Application>
  <PresentationFormat>Широкоэкранный</PresentationFormat>
  <Paragraphs>69</Paragraphs>
  <Slides>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3" baseType="lpstr">
      <vt:lpstr>Arial</vt:lpstr>
      <vt:lpstr>Calibri</vt:lpstr>
      <vt:lpstr>FS Severstal</vt:lpstr>
      <vt:lpstr>Times New Roman</vt:lpstr>
      <vt:lpstr>Wingdings</vt:lpstr>
      <vt:lpstr>1_Severstal_new</vt:lpstr>
      <vt:lpstr>Severstal_new</vt:lpstr>
      <vt:lpstr>Слайд think-cell</vt:lpstr>
      <vt:lpstr>    Групповой несчастный случай с работниками кислородного цеха производства энергоресурсов  ПАО «Северсталь»</vt:lpstr>
      <vt:lpstr>Краткое описание происшествия</vt:lpstr>
      <vt:lpstr>Причины</vt:lpstr>
      <vt:lpstr>Причины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ffice</dc:creator>
  <cp:lastModifiedBy>Базанов Сергей Васильевич</cp:lastModifiedBy>
  <cp:revision>2402</cp:revision>
  <cp:lastPrinted>2023-01-13T06:59:53Z</cp:lastPrinted>
  <dcterms:created xsi:type="dcterms:W3CDTF">2018-07-05T12:56:36Z</dcterms:created>
  <dcterms:modified xsi:type="dcterms:W3CDTF">2025-02-05T12:4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ED2FF0C0B79A4997E31B771AEC3E6E</vt:lpwstr>
  </property>
</Properties>
</file>